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4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2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9.xml" ContentType="application/vnd.openxmlformats-officedocument.presentationml.slide+xml"/>
  <Override PartName="/ppt/slides/slide4.xml" ContentType="application/vnd.openxmlformats-officedocument.presentationml.slide+xml"/>
  <Override PartName="/ppt/slides/slide21.xml" ContentType="application/vnd.openxmlformats-officedocument.presentationml.slide+xml"/>
  <Override PartName="/ppt/slides/slide23.xml" ContentType="application/vnd.openxmlformats-officedocument.presentationml.slide+xml"/>
  <Override PartName="/ppt/slides/slide20.xml" ContentType="application/vnd.openxmlformats-officedocument.presentationml.slide+xml"/>
  <Override PartName="/ppt/slides/slide22.xml" ContentType="application/vnd.openxmlformats-officedocument.presentationml.slide+xml"/>
  <Override PartName="/ppt/slideLayouts/slideLayout27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2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9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3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28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8.xml" ContentType="application/vnd.openxmlformats-officedocument.presentationml.tags+xml"/>
  <Override PartName="/ppt/tags/tag27.xml" ContentType="application/vnd.openxmlformats-officedocument.presentationml.tags+xml"/>
  <Override PartName="/ppt/tags/tag10.xml" ContentType="application/vnd.openxmlformats-officedocument.presentationml.tags+xml"/>
  <Override PartName="/ppt/tags/tag39.xml" ContentType="application/vnd.openxmlformats-officedocument.presentationml.tags+xml"/>
  <Override PartName="/ppt/tags/tag9.xml" ContentType="application/vnd.openxmlformats-officedocument.presentationml.tags+xml"/>
  <Override PartName="/ppt/tags/tag47.xml" ContentType="application/vnd.openxmlformats-officedocument.presentationml.tags+xml"/>
  <Override PartName="/ppt/tags/tag11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43.xml" ContentType="application/vnd.openxmlformats-officedocument.presentationml.tags+xml"/>
  <Override PartName="/ppt/tags/tag30.xml" ContentType="application/vnd.openxmlformats-officedocument.presentationml.tags+xml"/>
  <Override PartName="/ppt/tags/tag1.xml" ContentType="application/vnd.openxmlformats-officedocument.presentationml.tags+xml"/>
  <Override PartName="/ppt/tags/tag44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45.xml" ContentType="application/vnd.openxmlformats-officedocument.presentationml.tags+xml"/>
  <Override PartName="/ppt/tags/tag31.xml" ContentType="application/vnd.openxmlformats-officedocument.presentationml.tags+xml"/>
  <Override PartName="/ppt/tags/tag46.xml" ContentType="application/vnd.openxmlformats-officedocument.presentationml.tags+xml"/>
  <Override PartName="/ppt/tags/tag5.xml" ContentType="application/vnd.openxmlformats-officedocument.presentationml.tags+xml"/>
  <Override PartName="/ppt/tags/tag29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0.xml" ContentType="application/vnd.openxmlformats-officedocument.presentationml.tags+xml"/>
  <Override PartName="/ppt/tags/tag33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21.xml" ContentType="application/vnd.openxmlformats-officedocument.presentationml.tags+xml"/>
  <Override PartName="/ppt/tags/tag55.xml" ContentType="application/vnd.openxmlformats-officedocument.presentationml.tags+xml"/>
  <Override PartName="/ppt/tags/tag32.xml" ContentType="application/vnd.openxmlformats-officedocument.presentationml.tags+xml"/>
  <Override PartName="/ppt/tags/tag54.xml" ContentType="application/vnd.openxmlformats-officedocument.presentationml.tags+xml"/>
  <Override PartName="/ppt/tags/tag22.xml" ContentType="application/vnd.openxmlformats-officedocument.presentationml.tags+xml"/>
  <Override PartName="/docProps/custom.xml" ContentType="application/vnd.openxmlformats-officedocument.custom-propertie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15.xml" ContentType="application/vnd.openxmlformats-officedocument.presentationml.tags+xml"/>
  <Override PartName="/ppt/tags/tag49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38.xml" ContentType="application/vnd.openxmlformats-officedocument.presentationml.tags+xml"/>
  <Override PartName="/ppt/tags/tag16.xml" ContentType="application/vnd.openxmlformats-officedocument.presentationml.tags+xml"/>
  <Override PartName="/ppt/tags/tag35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26.xml" ContentType="application/vnd.openxmlformats-officedocument.presentationml.tags+xml"/>
  <Override PartName="/ppt/tags/tag17.xml" ContentType="application/vnd.openxmlformats-officedocument.presentationml.tags+xml"/>
  <Override PartName="/ppt/revisionInfo.xml" ContentType="application/vnd.ms-powerpoint.revisioninfo+xml"/>
  <Override PartName="/ppt/changesInfos/changesInfo1.xml" ContentType="application/vnd.ms-powerpoint.changes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4" r:id="rId2"/>
    <p:sldMasterId id="2147483717" r:id="rId3"/>
  </p:sldMasterIdLst>
  <p:notesMasterIdLst>
    <p:notesMasterId r:id="rId29"/>
  </p:notesMasterIdLst>
  <p:handoutMasterIdLst>
    <p:handoutMasterId r:id="rId30"/>
  </p:handoutMasterIdLst>
  <p:sldIdLst>
    <p:sldId id="452" r:id="rId4"/>
    <p:sldId id="2147472666" r:id="rId5"/>
    <p:sldId id="2147472667" r:id="rId6"/>
    <p:sldId id="2147472687" r:id="rId7"/>
    <p:sldId id="2147472668" r:id="rId8"/>
    <p:sldId id="2147472669" r:id="rId9"/>
    <p:sldId id="2147472688" r:id="rId10"/>
    <p:sldId id="2147472672" r:id="rId11"/>
    <p:sldId id="2147472673" r:id="rId12"/>
    <p:sldId id="2147472674" r:id="rId13"/>
    <p:sldId id="2147472675" r:id="rId14"/>
    <p:sldId id="2147472676" r:id="rId15"/>
    <p:sldId id="2147472677" r:id="rId16"/>
    <p:sldId id="2147472678" r:id="rId17"/>
    <p:sldId id="2147472679" r:id="rId18"/>
    <p:sldId id="2147472680" r:id="rId19"/>
    <p:sldId id="2147472681" r:id="rId20"/>
    <p:sldId id="2147472682" r:id="rId21"/>
    <p:sldId id="2147472683" r:id="rId22"/>
    <p:sldId id="2147472684" r:id="rId23"/>
    <p:sldId id="2147472685" r:id="rId24"/>
    <p:sldId id="2147472686" r:id="rId25"/>
    <p:sldId id="2147472690" r:id="rId26"/>
    <p:sldId id="2147472691" r:id="rId27"/>
    <p:sldId id="2147472689" r:id="rId28"/>
  </p:sldIdLst>
  <p:sldSz cx="12192000" cy="6858000"/>
  <p:notesSz cx="6858000" cy="9144000"/>
  <p:custDataLst>
    <p:tags r:id="rId31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sa8FVns81oOYHCgOas66+A==" hashData="CGe2M3Ovsmcv9EvqGvOEWq0Hu6sd2Gi6sGZTh/ht/4Olk0cmkNzwSPAasraWEuIQ2zouK+yuSEUQnS3rEn3Yfw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18" autoAdjust="0"/>
    <p:restoredTop sz="95152" autoAdjust="0"/>
  </p:normalViewPr>
  <p:slideViewPr>
    <p:cSldViewPr snapToGrid="0">
      <p:cViewPr varScale="1">
        <p:scale>
          <a:sx n="74" d="100"/>
          <a:sy n="74" d="100"/>
        </p:scale>
        <p:origin x="508" y="48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ustomXml" Target="../customXml/item2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38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37" Type="http://schemas.microsoft.com/office/2016/11/relationships/changesInfo" Target="changesInfos/changesInfo1.xml"/><Relationship Id="rId40" Type="http://schemas.openxmlformats.org/officeDocument/2006/relationships/customXml" Target="../customXml/item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17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17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027315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225554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199272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331163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412533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689196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5909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314323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3031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31670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8162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47362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54869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62788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41656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3784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000279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417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ntilla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52117460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61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B4AC05A8-6F26-1747-B12A-BE1550B311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DBE2402C-572A-E54D-89B2-51E1457F876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="" xmlns:a16="http://schemas.microsoft.com/office/drawing/2014/main" id="{66A7FDD3-3C87-BA44-9EF5-6C8FBF3FD2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="" xmlns:a16="http://schemas.microsoft.com/office/drawing/2014/main" id="{4879D5D4-8146-2A49-8F80-B0C7066E60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35" y="391614"/>
            <a:ext cx="1380931" cy="645524"/>
          </a:xfrm>
          <a:prstGeom prst="rect">
            <a:avLst/>
          </a:prstGeom>
        </p:spPr>
      </p:pic>
      <p:cxnSp>
        <p:nvCxnSpPr>
          <p:cNvPr id="31" name="Conector recto 18">
            <a:extLst>
              <a:ext uri="{FF2B5EF4-FFF2-40B4-BE49-F238E27FC236}">
                <a16:creationId xmlns="" xmlns:a16="http://schemas.microsoft.com/office/drawing/2014/main" id="{11AADCC8-85D5-114B-AB66-337BB54910C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0D2FB7A0-285F-F948-8825-44FEE251C0C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373793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58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1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6933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23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632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6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043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52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4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185005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3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2612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23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7152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8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628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86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031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6300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6677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819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8999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7465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9309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6413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28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9752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096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4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6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14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" name="Diapositiva de think-cell" r:id="rId18" imgW="415" imgH="416" progId="TCLayout.ActiveDocument.1">
                  <p:embed/>
                </p:oleObj>
              </mc:Choice>
              <mc:Fallback>
                <p:oleObj name="Diapositiva de think-cell" r:id="rId18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665" r:id="rId6"/>
    <p:sldLayoutId id="2147483702" r:id="rId7"/>
    <p:sldLayoutId id="2147483699" r:id="rId8"/>
    <p:sldLayoutId id="2147483667" r:id="rId9"/>
    <p:sldLayoutId id="2147483703" r:id="rId10"/>
    <p:sldLayoutId id="2147483689" r:id="rId11"/>
    <p:sldLayoutId id="2147483696" r:id="rId12"/>
    <p:sldLayoutId id="2147483695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0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6364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591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14.svg"/><Relationship Id="rId5" Type="http://schemas.openxmlformats.org/officeDocument/2006/relationships/image" Target="../media/image25.png"/><Relationship Id="rId4" Type="http://schemas.openxmlformats.org/officeDocument/2006/relationships/image" Target="../media/image2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3.xml"/><Relationship Id="rId6" Type="http://schemas.openxmlformats.org/officeDocument/2006/relationships/image" Target="../media/image51.png"/><Relationship Id="rId5" Type="http://schemas.openxmlformats.org/officeDocument/2006/relationships/image" Target="../media/image47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5.xml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7.xml"/><Relationship Id="rId6" Type="http://schemas.openxmlformats.org/officeDocument/2006/relationships/image" Target="../media/image67.emf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71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8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73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9.xml"/><Relationship Id="rId6" Type="http://schemas.openxmlformats.org/officeDocument/2006/relationships/image" Target="../media/image72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67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6" Type="http://schemas.openxmlformats.org/officeDocument/2006/relationships/image" Target="../media/image68.emf"/><Relationship Id="rId5" Type="http://schemas.openxmlformats.org/officeDocument/2006/relationships/image" Target="../media/image66.png"/><Relationship Id="rId4" Type="http://schemas.openxmlformats.org/officeDocument/2006/relationships/image" Target="../media/image7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1.xml"/><Relationship Id="rId5" Type="http://schemas.openxmlformats.org/officeDocument/2006/relationships/image" Target="../media/image77.emf"/><Relationship Id="rId4" Type="http://schemas.openxmlformats.org/officeDocument/2006/relationships/image" Target="../media/image7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3.xml"/><Relationship Id="rId6" Type="http://schemas.openxmlformats.org/officeDocument/2006/relationships/image" Target="../media/image81.png"/><Relationship Id="rId5" Type="http://schemas.openxmlformats.org/officeDocument/2006/relationships/image" Target="../media/image59.svg"/><Relationship Id="rId4" Type="http://schemas.openxmlformats.org/officeDocument/2006/relationships/image" Target="../media/image8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4.xml"/><Relationship Id="rId6" Type="http://schemas.openxmlformats.org/officeDocument/2006/relationships/image" Target="../media/image82.png"/><Relationship Id="rId5" Type="http://schemas.openxmlformats.org/officeDocument/2006/relationships/image" Target="../media/image59.svg"/><Relationship Id="rId4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4" Type="http://schemas.openxmlformats.org/officeDocument/2006/relationships/image" Target="../media/image3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21D25ACF-A115-7F4C-8E23-D71F05CDE2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" t="5546" r="1491" b="12593"/>
          <a:stretch/>
        </p:blipFill>
        <p:spPr>
          <a:xfrm flipH="1">
            <a:off x="-2" y="1"/>
            <a:ext cx="12192001" cy="6858000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4937948"/>
            <a:ext cx="4713288" cy="1178039"/>
          </a:xfrm>
        </p:spPr>
        <p:txBody>
          <a:bodyPr>
            <a:normAutofit/>
          </a:bodyPr>
          <a:lstStyle/>
          <a:p>
            <a:r>
              <a:rPr lang="es-CL" sz="2400" dirty="0">
                <a:solidFill>
                  <a:schemeClr val="bg1"/>
                </a:solidFill>
                <a:latin typeface="ACHS Nueva Serif" pitchFamily="2" charset="77"/>
              </a:rPr>
              <a:t>Seguridad en la operación de equipos para el movimiento de carga – Apilador eléctrico  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B9AAB87F-0217-49FC-8A93-1B1E478797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7E0C2104-DC15-7C4B-BD0B-23CF23EA3110}"/>
              </a:ext>
            </a:extLst>
          </p:cNvPr>
          <p:cNvSpPr/>
          <p:nvPr/>
        </p:nvSpPr>
        <p:spPr>
          <a:xfrm>
            <a:off x="449263" y="4398147"/>
            <a:ext cx="2532476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/ </a:t>
            </a:r>
            <a:r>
              <a:rPr lang="es-CL" dirty="0" smtClean="0">
                <a:solidFill>
                  <a:schemeClr val="bg2"/>
                </a:solidFill>
                <a:latin typeface="ACHS Nueva Sans Medium" pitchFamily="2" charset="77"/>
              </a:rPr>
              <a:t>Presencial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bre 27">
            <a:extLst>
              <a:ext uri="{FF2B5EF4-FFF2-40B4-BE49-F238E27FC236}">
                <a16:creationId xmlns="" xmlns:a16="http://schemas.microsoft.com/office/drawing/2014/main" id="{4824411B-8F80-A449-B8A5-85F0048A6202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29" name="Elipse 28">
            <a:extLst>
              <a:ext uri="{FF2B5EF4-FFF2-40B4-BE49-F238E27FC236}">
                <a16:creationId xmlns="" xmlns:a16="http://schemas.microsoft.com/office/drawing/2014/main" id="{102550BF-707C-5D4C-B964-421F55A14789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4CFF53DF-8DA2-814D-8FC7-2519F68C6723}"/>
              </a:ext>
            </a:extLst>
          </p:cNvPr>
          <p:cNvSpPr txBox="1"/>
          <p:nvPr/>
        </p:nvSpPr>
        <p:spPr>
          <a:xfrm>
            <a:off x="849780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="" xmlns:a16="http://schemas.microsoft.com/office/drawing/2014/main" id="{3C75CE78-E51E-7B4B-A4AD-A5CA190B6D83}"/>
              </a:ext>
            </a:extLst>
          </p:cNvPr>
          <p:cNvSpPr txBox="1"/>
          <p:nvPr/>
        </p:nvSpPr>
        <p:spPr>
          <a:xfrm>
            <a:off x="1473366" y="1760935"/>
            <a:ext cx="54399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saltes al subir o bajar del equipo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2" name="Forma libre 31">
            <a:extLst>
              <a:ext uri="{FF2B5EF4-FFF2-40B4-BE49-F238E27FC236}">
                <a16:creationId xmlns="" xmlns:a16="http://schemas.microsoft.com/office/drawing/2014/main" id="{CDF84F1F-405C-5A47-8320-7F765786FBB0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="" xmlns:a16="http://schemas.microsoft.com/office/drawing/2014/main" id="{788A3051-CD5B-1E43-842A-7898E941054C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="" xmlns:a16="http://schemas.microsoft.com/office/drawing/2014/main" id="{83925CD1-16BA-7640-8580-1158C0E91292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="" xmlns:a16="http://schemas.microsoft.com/office/drawing/2014/main" id="{712BB8A8-D61A-0A41-938A-FC7E071EE202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ente alejado del tránsito de otros equipos</a:t>
            </a:r>
          </a:p>
        </p:txBody>
      </p:sp>
      <p:sp>
        <p:nvSpPr>
          <p:cNvPr id="36" name="Forma libre 35">
            <a:extLst>
              <a:ext uri="{FF2B5EF4-FFF2-40B4-BE49-F238E27FC236}">
                <a16:creationId xmlns="" xmlns:a16="http://schemas.microsoft.com/office/drawing/2014/main" id="{E1F99CBE-21A3-F64C-9457-C9C7BDBC3216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="" xmlns:a16="http://schemas.microsoft.com/office/drawing/2014/main" id="{9A5B34C5-48DA-6649-A4BE-C0AD612A2A53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="" xmlns:a16="http://schemas.microsoft.com/office/drawing/2014/main" id="{871D6570-6D35-BC41-AE21-C268789A27BE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9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="" xmlns:a16="http://schemas.microsoft.com/office/drawing/2014/main" id="{5F387AF2-6BC9-A942-A4D6-F4DCC1F3C9E1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Cuando presencies daños o fallas, informa a tu jefatura</a:t>
            </a:r>
          </a:p>
        </p:txBody>
      </p:sp>
      <p:sp>
        <p:nvSpPr>
          <p:cNvPr id="40" name="Forma libre 39">
            <a:extLst>
              <a:ext uri="{FF2B5EF4-FFF2-40B4-BE49-F238E27FC236}">
                <a16:creationId xmlns="" xmlns:a16="http://schemas.microsoft.com/office/drawing/2014/main" id="{2B5C256E-51C4-2546-BB2E-2324FD140AAA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="" xmlns:a16="http://schemas.microsoft.com/office/drawing/2014/main" id="{C8784755-EDC7-7F49-B1D4-B880628423E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="" xmlns:a16="http://schemas.microsoft.com/office/drawing/2014/main" id="{9AD28AD5-EEA3-FC40-B182-4C280DD2BB2D}"/>
              </a:ext>
            </a:extLst>
          </p:cNvPr>
          <p:cNvSpPr txBox="1"/>
          <p:nvPr/>
        </p:nvSpPr>
        <p:spPr>
          <a:xfrm>
            <a:off x="759346" y="4016882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="" xmlns:a16="http://schemas.microsoft.com/office/drawing/2014/main" id="{F831AA50-1268-9D4C-9ECD-97D476EE9EDC}"/>
              </a:ext>
            </a:extLst>
          </p:cNvPr>
          <p:cNvSpPr txBox="1"/>
          <p:nvPr/>
        </p:nvSpPr>
        <p:spPr>
          <a:xfrm>
            <a:off x="1473365" y="4021573"/>
            <a:ext cx="856493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Realiza movimientos cortos y suaves cuando hagas pruebas del equipo</a:t>
            </a:r>
          </a:p>
        </p:txBody>
      </p:sp>
      <p:sp>
        <p:nvSpPr>
          <p:cNvPr id="44" name="Forma libre 43">
            <a:extLst>
              <a:ext uri="{FF2B5EF4-FFF2-40B4-BE49-F238E27FC236}">
                <a16:creationId xmlns="" xmlns:a16="http://schemas.microsoft.com/office/drawing/2014/main" id="{C432294E-2F5C-794F-BE64-7E89A3CE2841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="" xmlns:a16="http://schemas.microsoft.com/office/drawing/2014/main" id="{83ACA8DF-25B2-7546-BAB7-1505550C536E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="" xmlns:a16="http://schemas.microsoft.com/office/drawing/2014/main" id="{25A53C57-8FA7-1B4C-8745-D0767E5133D3}"/>
              </a:ext>
            </a:extLst>
          </p:cNvPr>
          <p:cNvSpPr txBox="1"/>
          <p:nvPr/>
        </p:nvSpPr>
        <p:spPr>
          <a:xfrm>
            <a:off x="759346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="" xmlns:a16="http://schemas.microsoft.com/office/drawing/2014/main" id="{D564463B-FB8D-0A4A-B931-A95059E6D239}"/>
              </a:ext>
            </a:extLst>
          </p:cNvPr>
          <p:cNvSpPr txBox="1"/>
          <p:nvPr/>
        </p:nvSpPr>
        <p:spPr>
          <a:xfrm>
            <a:off x="1473366" y="4782945"/>
            <a:ext cx="891663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Limpia cualquier residuo de sustancias que queden derramadas en la máquina</a:t>
            </a:r>
          </a:p>
        </p:txBody>
      </p:sp>
      <p:sp>
        <p:nvSpPr>
          <p:cNvPr id="48" name="Forma libre 47">
            <a:extLst>
              <a:ext uri="{FF2B5EF4-FFF2-40B4-BE49-F238E27FC236}">
                <a16:creationId xmlns="" xmlns:a16="http://schemas.microsoft.com/office/drawing/2014/main" id="{756CD88F-3210-6E42-A6A8-5CD827AA81DD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="" xmlns:a16="http://schemas.microsoft.com/office/drawing/2014/main" id="{AD3BCE3C-3CB6-2241-B4F7-35DECAEF9844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="" xmlns:a16="http://schemas.microsoft.com/office/drawing/2014/main" id="{DDC7A37A-CA81-2143-A4E6-1DD831D71420}"/>
              </a:ext>
            </a:extLst>
          </p:cNvPr>
          <p:cNvSpPr txBox="1"/>
          <p:nvPr/>
        </p:nvSpPr>
        <p:spPr>
          <a:xfrm>
            <a:off x="759346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="" xmlns:a16="http://schemas.microsoft.com/office/drawing/2014/main" id="{91DF3AA9-984F-D943-A512-BC09FF106AC4}"/>
              </a:ext>
            </a:extLst>
          </p:cNvPr>
          <p:cNvSpPr txBox="1"/>
          <p:nvPr/>
        </p:nvSpPr>
        <p:spPr>
          <a:xfrm>
            <a:off x="1473364" y="5544317"/>
            <a:ext cx="1004393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Usa los 3 puntos de apoyo al subir y</a:t>
            </a:r>
            <a:r>
              <a:rPr lang="x-none" sz="1700">
                <a:latin typeface="ACHS Nueva Sans Medium" pitchFamily="2" charset="77"/>
                <a:cs typeface="Arial" panose="020B0604020202020204" pitchFamily="34" charset="0"/>
              </a:rPr>
              <a:t> </a:t>
            </a: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bajar del equipo (mano-mano-pie o mano-pie-pie)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4" name="Text Placeholder 15">
            <a:extLst>
              <a:ext uri="{FF2B5EF4-FFF2-40B4-BE49-F238E27FC236}">
                <a16:creationId xmlns="" xmlns:a16="http://schemas.microsoft.com/office/drawing/2014/main" id="{2E29C3EC-7B59-B349-A6AC-2C98739C4C72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Y sigue estas recomendaciones:</a:t>
            </a:r>
          </a:p>
        </p:txBody>
      </p:sp>
      <p:sp>
        <p:nvSpPr>
          <p:cNvPr id="55" name="Text Placeholder 14">
            <a:extLst>
              <a:ext uri="{FF2B5EF4-FFF2-40B4-BE49-F238E27FC236}">
                <a16:creationId xmlns="" xmlns:a16="http://schemas.microsoft.com/office/drawing/2014/main" id="{209197E0-A080-9B4E-81AB-6699A8DF208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06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/>
      <p:bldP spid="31" grpId="0"/>
      <p:bldP spid="32" grpId="0" animBg="1"/>
      <p:bldP spid="33" grpId="0" animBg="1"/>
      <p:bldP spid="34" grpId="0"/>
      <p:bldP spid="35" grpId="0"/>
      <p:bldP spid="36" grpId="0" animBg="1"/>
      <p:bldP spid="37" grpId="0" animBg="1"/>
      <p:bldP spid="38" grpId="0"/>
      <p:bldP spid="39" grpId="0"/>
      <p:bldP spid="40" grpId="0" animBg="1"/>
      <p:bldP spid="41" grpId="0" animBg="1"/>
      <p:bldP spid="42" grpId="0"/>
      <p:bldP spid="43" grpId="0"/>
      <p:bldP spid="44" grpId="0" animBg="1"/>
      <p:bldP spid="45" grpId="0" animBg="1"/>
      <p:bldP spid="46" grpId="0"/>
      <p:bldP spid="47" grpId="0"/>
      <p:bldP spid="48" grpId="0" animBg="1"/>
      <p:bldP spid="49" grpId="0" animBg="1"/>
      <p:bldP spid="50" grpId="0"/>
      <p:bldP spid="5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ángulo 51">
            <a:extLst>
              <a:ext uri="{FF2B5EF4-FFF2-40B4-BE49-F238E27FC236}">
                <a16:creationId xmlns="" xmlns:a16="http://schemas.microsoft.com/office/drawing/2014/main" id="{6701B10B-F8A0-DA48-A8E7-2C8CEFB2376F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="" xmlns:a16="http://schemas.microsoft.com/office/drawing/2014/main" id="{F9D16C90-49D4-7248-904E-461615769971}"/>
              </a:ext>
            </a:extLst>
          </p:cNvPr>
          <p:cNvSpPr txBox="1"/>
          <p:nvPr/>
        </p:nvSpPr>
        <p:spPr>
          <a:xfrm>
            <a:off x="1373833" y="189149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/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tado general</a:t>
            </a:r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="" xmlns:a16="http://schemas.microsoft.com/office/drawing/2014/main" id="{208DE701-DAED-F047-BC1B-0FA72A1260AD}"/>
              </a:ext>
            </a:extLst>
          </p:cNvPr>
          <p:cNvSpPr txBox="1"/>
          <p:nvPr/>
        </p:nvSpPr>
        <p:spPr>
          <a:xfrm>
            <a:off x="762919" y="2454269"/>
            <a:ext cx="317847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 chasis, ausencia de abolladuras, marcas en pintura, otros daños, existencia de etiquetas, placas y advertencias de seguridad</a:t>
            </a:r>
            <a:r>
              <a:rPr lang="es-CL" sz="1300" dirty="0">
                <a:latin typeface="ACHS Nueva Sans Medium" pitchFamily="2" charset="77"/>
                <a:ea typeface="ＭＳ Ｐゴシック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="" xmlns:a16="http://schemas.microsoft.com/office/drawing/2014/main" id="{B11D25AB-A85A-8A4A-A9FD-0DD4ED1BD55B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="" xmlns:a16="http://schemas.microsoft.com/office/drawing/2014/main" id="{77BDCB67-4C26-4C44-ABE3-4B50D4F862E7}"/>
              </a:ext>
            </a:extLst>
          </p:cNvPr>
          <p:cNvSpPr txBox="1"/>
          <p:nvPr/>
        </p:nvSpPr>
        <p:spPr>
          <a:xfrm>
            <a:off x="5036146" y="190312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Horquillas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="" xmlns:a16="http://schemas.microsoft.com/office/drawing/2014/main" id="{9EEAE894-FFFB-284B-AA6B-9C4F1CD1EB6E}"/>
              </a:ext>
            </a:extLst>
          </p:cNvPr>
          <p:cNvSpPr txBox="1"/>
          <p:nvPr/>
        </p:nvSpPr>
        <p:spPr>
          <a:xfrm>
            <a:off x="4434371" y="2449881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limpias, fijas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="" xmlns:a16="http://schemas.microsoft.com/office/drawing/2014/main" id="{F264AF27-F2C8-2346-8410-43B8B1E04D17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="" xmlns:a16="http://schemas.microsoft.com/office/drawing/2014/main" id="{AEA50616-3E76-154C-9664-B9D6C6F5B167}"/>
              </a:ext>
            </a:extLst>
          </p:cNvPr>
          <p:cNvSpPr txBox="1"/>
          <p:nvPr/>
        </p:nvSpPr>
        <p:spPr>
          <a:xfrm>
            <a:off x="8762873" y="1897419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Ruedas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="" xmlns:a16="http://schemas.microsoft.com/office/drawing/2014/main" id="{4640935F-70FC-ED46-8E6C-BFBE29432C1D}"/>
              </a:ext>
            </a:extLst>
          </p:cNvPr>
          <p:cNvSpPr txBox="1"/>
          <p:nvPr/>
        </p:nvSpPr>
        <p:spPr>
          <a:xfrm>
            <a:off x="8203401" y="2449881"/>
            <a:ext cx="307799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deformaciones, no provocan saltos al operar, sin ruidos extraños, sin elementos extraños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="" xmlns:a16="http://schemas.microsoft.com/office/drawing/2014/main" id="{EDC8DCC3-BCF5-1346-ABF7-8A0CE9160AB7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="" xmlns:a16="http://schemas.microsoft.com/office/drawing/2014/main" id="{370A991A-01AF-D441-97E1-10FA8353C740}"/>
              </a:ext>
            </a:extLst>
          </p:cNvPr>
          <p:cNvSpPr txBox="1"/>
          <p:nvPr/>
        </p:nvSpPr>
        <p:spPr>
          <a:xfrm>
            <a:off x="1371476" y="427803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pejo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="" xmlns:a16="http://schemas.microsoft.com/office/drawing/2014/main" id="{507A5FAA-117E-EB4E-B278-825902D4A4A0}"/>
              </a:ext>
            </a:extLst>
          </p:cNvPr>
          <p:cNvSpPr txBox="1"/>
          <p:nvPr/>
        </p:nvSpPr>
        <p:spPr>
          <a:xfrm>
            <a:off x="760562" y="4832927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en posición, fijo, regulación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="" xmlns:a16="http://schemas.microsoft.com/office/drawing/2014/main" id="{3C62C47D-E4A9-5743-A3DF-0CD732831FE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="" xmlns:a16="http://schemas.microsoft.com/office/drawing/2014/main" id="{B832E559-B1E3-A244-BC62-FE69F392857C}"/>
              </a:ext>
            </a:extLst>
          </p:cNvPr>
          <p:cNvSpPr txBox="1"/>
          <p:nvPr/>
        </p:nvSpPr>
        <p:spPr>
          <a:xfrm>
            <a:off x="5030771" y="42804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Tapas y proteccion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="" xmlns:a16="http://schemas.microsoft.com/office/drawing/2014/main" id="{3285E10F-606F-0F40-97EC-F7577CDC545D}"/>
              </a:ext>
            </a:extLst>
          </p:cNvPr>
          <p:cNvSpPr txBox="1"/>
          <p:nvPr/>
        </p:nvSpPr>
        <p:spPr>
          <a:xfrm>
            <a:off x="4434371" y="4832927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en posición correcta, fijas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747B7E13-C6E3-F946-833B-F299A15B637B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="" xmlns:a16="http://schemas.microsoft.com/office/drawing/2014/main" id="{4FBE5041-03E8-3B43-880F-E1C1779C00D5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="" xmlns:a16="http://schemas.microsoft.com/office/drawing/2014/main" id="{48101D09-B5FF-8245-952D-66ACFA940A8E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FD0FF8C4-9CA3-FF4C-A30C-ECCA3E8B91BE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>
            <a:extLst>
              <a:ext uri="{FF2B5EF4-FFF2-40B4-BE49-F238E27FC236}">
                <a16:creationId xmlns="" xmlns:a16="http://schemas.microsoft.com/office/drawing/2014/main" id="{6B1A143E-F1B1-3544-9A24-C9B75D5FA5B5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Imagen 76">
            <a:extLst>
              <a:ext uri="{FF2B5EF4-FFF2-40B4-BE49-F238E27FC236}">
                <a16:creationId xmlns="" xmlns:a16="http://schemas.microsoft.com/office/drawing/2014/main" id="{E65D2022-C196-5A40-8B3A-70E75B776F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07" y="1627690"/>
            <a:ext cx="822192" cy="822192"/>
          </a:xfrm>
          <a:prstGeom prst="rect">
            <a:avLst/>
          </a:prstGeom>
        </p:spPr>
      </p:pic>
      <p:pic>
        <p:nvPicPr>
          <p:cNvPr id="78" name="Imagen 77">
            <a:extLst>
              <a:ext uri="{FF2B5EF4-FFF2-40B4-BE49-F238E27FC236}">
                <a16:creationId xmlns="" xmlns:a16="http://schemas.microsoft.com/office/drawing/2014/main" id="{6397449C-2888-4847-95CB-680707BD9B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354" y="1659364"/>
            <a:ext cx="707374" cy="707374"/>
          </a:xfrm>
          <a:prstGeom prst="rect">
            <a:avLst/>
          </a:prstGeom>
        </p:spPr>
      </p:pic>
      <p:pic>
        <p:nvPicPr>
          <p:cNvPr id="79" name="Imagen 78">
            <a:extLst>
              <a:ext uri="{FF2B5EF4-FFF2-40B4-BE49-F238E27FC236}">
                <a16:creationId xmlns="" xmlns:a16="http://schemas.microsoft.com/office/drawing/2014/main" id="{ABDF74FD-72B3-7942-BCE2-E3A506DB66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5865" y="1580279"/>
            <a:ext cx="822192" cy="822192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="" xmlns:a16="http://schemas.microsoft.com/office/drawing/2014/main" id="{C4465605-00C2-B54B-8311-32C7BD2638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62" y="4056281"/>
            <a:ext cx="666291" cy="666291"/>
          </a:xfrm>
          <a:prstGeom prst="rect">
            <a:avLst/>
          </a:prstGeom>
        </p:spPr>
      </p:pic>
      <p:pic>
        <p:nvPicPr>
          <p:cNvPr id="81" name="Imagen 80">
            <a:extLst>
              <a:ext uri="{FF2B5EF4-FFF2-40B4-BE49-F238E27FC236}">
                <a16:creationId xmlns="" xmlns:a16="http://schemas.microsoft.com/office/drawing/2014/main" id="{6C32D78A-196A-F14E-AC7C-1E98624179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847" y="4043332"/>
            <a:ext cx="721634" cy="721634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="" xmlns:a16="http://schemas.microsoft.com/office/drawing/2014/main" id="{B7EA5578-4D73-CD42-A8A5-793B0FC292B6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Te enseñamos qué revisar de tu equipo: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="" xmlns:a16="http://schemas.microsoft.com/office/drawing/2014/main" id="{B7F19D4B-4746-6048-8A63-A5530D91D470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963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="" xmlns:a16="http://schemas.microsoft.com/office/drawing/2014/main" id="{E6EE4903-0588-7242-AA9D-00318EEEA086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3A45A5C3-B519-0649-A734-D46AB7ABFB8F}"/>
              </a:ext>
            </a:extLst>
          </p:cNvPr>
          <p:cNvSpPr txBox="1"/>
          <p:nvPr/>
        </p:nvSpPr>
        <p:spPr>
          <a:xfrm>
            <a:off x="1373839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liz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="" xmlns:a16="http://schemas.microsoft.com/office/drawing/2014/main" id="{2CAF2BEC-BF8A-C44F-8859-CC92B004FD41}"/>
              </a:ext>
            </a:extLst>
          </p:cNvPr>
          <p:cNvSpPr txBox="1"/>
          <p:nvPr/>
        </p:nvSpPr>
        <p:spPr>
          <a:xfrm>
            <a:off x="762919" y="2457299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fija, buen funcionamiento, sin ruido extrañ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="" xmlns:a16="http://schemas.microsoft.com/office/drawing/2014/main" id="{08E510D3-D803-864B-BBAE-FEEFEE9AAF71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="" xmlns:a16="http://schemas.microsoft.com/office/drawing/2014/main" id="{A96AC806-5A4C-0042-A1B5-0AE36BB1365A}"/>
              </a:ext>
            </a:extLst>
          </p:cNvPr>
          <p:cNvSpPr txBox="1"/>
          <p:nvPr/>
        </p:nvSpPr>
        <p:spPr>
          <a:xfrm>
            <a:off x="502593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inturón de seguridad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="" xmlns:a16="http://schemas.microsoft.com/office/drawing/2014/main" id="{C33F12F2-BA4E-9745-B56D-9071DBB8F706}"/>
              </a:ext>
            </a:extLst>
          </p:cNvPr>
          <p:cNvSpPr txBox="1"/>
          <p:nvPr/>
        </p:nvSpPr>
        <p:spPr>
          <a:xfrm>
            <a:off x="4434371" y="2457299"/>
            <a:ext cx="307174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retráctil, enganche efectivo.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="" xmlns:a16="http://schemas.microsoft.com/office/drawing/2014/main" id="{98907A31-797B-ED4C-BE33-93E9F0713BA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="" xmlns:a16="http://schemas.microsoft.com/office/drawing/2014/main" id="{3FF8E9C1-35F2-C44D-A98B-6999A893671D}"/>
              </a:ext>
            </a:extLst>
          </p:cNvPr>
          <p:cNvSpPr txBox="1"/>
          <p:nvPr/>
        </p:nvSpPr>
        <p:spPr>
          <a:xfrm>
            <a:off x="874576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Alarma de retroceso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="" xmlns:a16="http://schemas.microsoft.com/office/drawing/2014/main" id="{112FDD0D-4942-984C-9A4E-3D25FB9190DB}"/>
              </a:ext>
            </a:extLst>
          </p:cNvPr>
          <p:cNvSpPr txBox="1"/>
          <p:nvPr/>
        </p:nvSpPr>
        <p:spPr>
          <a:xfrm>
            <a:off x="8105823" y="2457299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="" xmlns:a16="http://schemas.microsoft.com/office/drawing/2014/main" id="{A584CC8E-60AC-4943-B1D6-DFD4267CE0A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="" xmlns:a16="http://schemas.microsoft.com/office/drawing/2014/main" id="{FDC31504-20AF-2341-8C35-640BCE7BC06E}"/>
              </a:ext>
            </a:extLst>
          </p:cNvPr>
          <p:cNvSpPr txBox="1"/>
          <p:nvPr/>
        </p:nvSpPr>
        <p:spPr>
          <a:xfrm>
            <a:off x="1371481" y="4190192"/>
            <a:ext cx="25642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elevación hidráulico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="" xmlns:a16="http://schemas.microsoft.com/office/drawing/2014/main" id="{BC84509B-A6EE-4443-9B14-B4CC04B62772}"/>
              </a:ext>
            </a:extLst>
          </p:cNvPr>
          <p:cNvSpPr txBox="1"/>
          <p:nvPr/>
        </p:nvSpPr>
        <p:spPr>
          <a:xfrm>
            <a:off x="760562" y="4843940"/>
            <a:ext cx="318083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buen estado, ausencia de filtraciones, sin ruidos extraños, sin elementos extraños.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="" xmlns:a16="http://schemas.microsoft.com/office/drawing/2014/main" id="{5AB954E2-CDB9-094D-98E2-08C1D8381956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="" xmlns:a16="http://schemas.microsoft.com/office/drawing/2014/main" id="{29770715-2EB0-1C4A-81D9-4A6596D9DBB3}"/>
              </a:ext>
            </a:extLst>
          </p:cNvPr>
          <p:cNvSpPr txBox="1"/>
          <p:nvPr/>
        </p:nvSpPr>
        <p:spPr>
          <a:xfrm>
            <a:off x="5025935" y="4277276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Dirección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="" xmlns:a16="http://schemas.microsoft.com/office/drawing/2014/main" id="{4909D67C-6264-2643-84BB-09D3B683EB60}"/>
              </a:ext>
            </a:extLst>
          </p:cNvPr>
          <p:cNvSpPr txBox="1"/>
          <p:nvPr/>
        </p:nvSpPr>
        <p:spPr>
          <a:xfrm>
            <a:off x="4434371" y="4843940"/>
            <a:ext cx="300140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l timón o volante, se mueve correctamente, no hay ruidos extraños.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="" xmlns:a16="http://schemas.microsoft.com/office/drawing/2014/main" id="{556EA4E1-4CE8-454A-AAB3-694740E25D06}"/>
              </a:ext>
            </a:extLst>
          </p:cNvPr>
          <p:cNvSpPr/>
          <p:nvPr/>
        </p:nvSpPr>
        <p:spPr>
          <a:xfrm>
            <a:off x="8017271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="" xmlns:a16="http://schemas.microsoft.com/office/drawing/2014/main" id="{58291075-2654-F349-A4EF-4D471075A245}"/>
              </a:ext>
            </a:extLst>
          </p:cNvPr>
          <p:cNvSpPr txBox="1"/>
          <p:nvPr/>
        </p:nvSpPr>
        <p:spPr>
          <a:xfrm>
            <a:off x="8743409" y="4190192"/>
            <a:ext cx="2721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frenos, contramarcha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="" xmlns:a16="http://schemas.microsoft.com/office/drawing/2014/main" id="{4AD11497-5F1C-5940-A4BE-2F5654E46A6C}"/>
              </a:ext>
            </a:extLst>
          </p:cNvPr>
          <p:cNvSpPr txBox="1"/>
          <p:nvPr/>
        </p:nvSpPr>
        <p:spPr>
          <a:xfrm>
            <a:off x="8103467" y="4843940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cxnSp>
        <p:nvCxnSpPr>
          <p:cNvPr id="47" name="Conector recto 46">
            <a:extLst>
              <a:ext uri="{FF2B5EF4-FFF2-40B4-BE49-F238E27FC236}">
                <a16:creationId xmlns="" xmlns:a16="http://schemas.microsoft.com/office/drawing/2014/main" id="{F61D11EA-0299-B04E-9558-E07078802578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="" xmlns:a16="http://schemas.microsoft.com/office/drawing/2014/main" id="{D038E233-E1EC-7340-866E-31563A9A7EC2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="" xmlns:a16="http://schemas.microsoft.com/office/drawing/2014/main" id="{B016E64E-5BD5-FC47-88D3-9D61866BE1AA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="" xmlns:a16="http://schemas.microsoft.com/office/drawing/2014/main" id="{960D288A-0440-E446-900E-F2246D210EE9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041E8C46-0706-6346-9DC6-D2C9C103FCAF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>
            <a:extLst>
              <a:ext uri="{FF2B5EF4-FFF2-40B4-BE49-F238E27FC236}">
                <a16:creationId xmlns="" xmlns:a16="http://schemas.microsoft.com/office/drawing/2014/main" id="{A11D61BB-3544-6941-9720-493708EC192F}"/>
              </a:ext>
            </a:extLst>
          </p:cNvPr>
          <p:cNvCxnSpPr/>
          <p:nvPr/>
        </p:nvCxnSpPr>
        <p:spPr>
          <a:xfrm>
            <a:off x="82003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Imagen 83">
            <a:extLst>
              <a:ext uri="{FF2B5EF4-FFF2-40B4-BE49-F238E27FC236}">
                <a16:creationId xmlns="" xmlns:a16="http://schemas.microsoft.com/office/drawing/2014/main" id="{C97E98B1-68F6-814A-B9E7-E3BF116C9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4" y="1694063"/>
            <a:ext cx="718841" cy="718841"/>
          </a:xfrm>
          <a:prstGeom prst="rect">
            <a:avLst/>
          </a:prstGeom>
        </p:spPr>
      </p:pic>
      <p:pic>
        <p:nvPicPr>
          <p:cNvPr id="85" name="Imagen 84">
            <a:extLst>
              <a:ext uri="{FF2B5EF4-FFF2-40B4-BE49-F238E27FC236}">
                <a16:creationId xmlns="" xmlns:a16="http://schemas.microsoft.com/office/drawing/2014/main" id="{13D87DFD-D7E3-504B-967D-A5923273EC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153" y="1694065"/>
            <a:ext cx="651710" cy="651710"/>
          </a:xfrm>
          <a:prstGeom prst="rect">
            <a:avLst/>
          </a:prstGeom>
        </p:spPr>
      </p:pic>
      <p:pic>
        <p:nvPicPr>
          <p:cNvPr id="86" name="Imagen 85">
            <a:extLst>
              <a:ext uri="{FF2B5EF4-FFF2-40B4-BE49-F238E27FC236}">
                <a16:creationId xmlns="" xmlns:a16="http://schemas.microsoft.com/office/drawing/2014/main" id="{D4F1226E-37EE-9E42-B77D-6D90BAE0A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412" y="1695042"/>
            <a:ext cx="716882" cy="716882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="" xmlns:a16="http://schemas.microsoft.com/office/drawing/2014/main" id="{309CB309-6B8E-6641-B4C5-9E3F4FC121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269" y="4173618"/>
            <a:ext cx="577796" cy="577796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="" xmlns:a16="http://schemas.microsoft.com/office/drawing/2014/main" id="{50672CA6-889B-FE48-94A7-5E427F321D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602" y="4121428"/>
            <a:ext cx="601716" cy="601716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="" xmlns:a16="http://schemas.microsoft.com/office/drawing/2014/main" id="{17CCE63E-DBC1-C044-91E5-66C2E66C12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528" y="3990427"/>
            <a:ext cx="732717" cy="7327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525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="" xmlns:a16="http://schemas.microsoft.com/office/drawing/2014/main" id="{1CA99DFC-63CE-2745-ADC4-4A80BF6C3BC4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="" xmlns:a16="http://schemas.microsoft.com/office/drawing/2014/main" id="{B9152467-AA85-0343-8F13-1EEDA8788E72}"/>
              </a:ext>
            </a:extLst>
          </p:cNvPr>
          <p:cNvSpPr txBox="1"/>
          <p:nvPr/>
        </p:nvSpPr>
        <p:spPr>
          <a:xfrm>
            <a:off x="135931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omand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="" xmlns:a16="http://schemas.microsoft.com/office/drawing/2014/main" id="{69AE4B04-ED98-2E4E-80F0-609FE269BA39}"/>
              </a:ext>
            </a:extLst>
          </p:cNvPr>
          <p:cNvSpPr txBox="1"/>
          <p:nvPr/>
        </p:nvSpPr>
        <p:spPr>
          <a:xfrm>
            <a:off x="762919" y="2471813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buen estado, limpios, buen funcionamiento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="" xmlns:a16="http://schemas.microsoft.com/office/drawing/2014/main" id="{B89471EE-A4DB-B14D-B7D7-BF9F1C138828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="" xmlns:a16="http://schemas.microsoft.com/office/drawing/2014/main" id="{20F6470E-9877-CF46-A6D3-BBD4295951AD}"/>
              </a:ext>
            </a:extLst>
          </p:cNvPr>
          <p:cNvSpPr txBox="1"/>
          <p:nvPr/>
        </p:nvSpPr>
        <p:spPr>
          <a:xfrm>
            <a:off x="5045285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ocina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="" xmlns:a16="http://schemas.microsoft.com/office/drawing/2014/main" id="{8816939A-265B-ED4E-8C7B-C0FA5A181C1A}"/>
              </a:ext>
            </a:extLst>
          </p:cNvPr>
          <p:cNvSpPr txBox="1"/>
          <p:nvPr/>
        </p:nvSpPr>
        <p:spPr>
          <a:xfrm>
            <a:off x="4434371" y="2471813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="" xmlns:a16="http://schemas.microsoft.com/office/drawing/2014/main" id="{913E360C-A19F-4044-9199-EBA78F2B4EC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="" xmlns:a16="http://schemas.microsoft.com/office/drawing/2014/main" id="{E12F18C2-A596-E641-BCF0-0D643E381648}"/>
              </a:ext>
            </a:extLst>
          </p:cNvPr>
          <p:cNvSpPr txBox="1"/>
          <p:nvPr/>
        </p:nvSpPr>
        <p:spPr>
          <a:xfrm>
            <a:off x="876027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rada de emergencia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="" xmlns:a16="http://schemas.microsoft.com/office/drawing/2014/main" id="{60221365-1FD6-5741-BCCF-BD8E95E5BE54}"/>
              </a:ext>
            </a:extLst>
          </p:cNvPr>
          <p:cNvSpPr txBox="1"/>
          <p:nvPr/>
        </p:nvSpPr>
        <p:spPr>
          <a:xfrm>
            <a:off x="8105823" y="2471813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="" xmlns:a16="http://schemas.microsoft.com/office/drawing/2014/main" id="{1B695A9C-B0C8-8540-9894-88667F408C5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="" xmlns:a16="http://schemas.microsoft.com/office/drawing/2014/main" id="{5506D20A-8ED9-B149-97EE-FCC72DD8F05F}"/>
              </a:ext>
            </a:extLst>
          </p:cNvPr>
          <p:cNvSpPr txBox="1"/>
          <p:nvPr/>
        </p:nvSpPr>
        <p:spPr>
          <a:xfrm>
            <a:off x="1356962" y="4190192"/>
            <a:ext cx="24022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tención “hombre muerto”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="" xmlns:a16="http://schemas.microsoft.com/office/drawing/2014/main" id="{136EAC43-462E-114B-93BB-C3BDD2541D82}"/>
              </a:ext>
            </a:extLst>
          </p:cNvPr>
          <p:cNvSpPr txBox="1"/>
          <p:nvPr/>
        </p:nvSpPr>
        <p:spPr>
          <a:xfrm>
            <a:off x="760562" y="4858454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 (de pie o pedal, en plataforma o asiento)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="" xmlns:a16="http://schemas.microsoft.com/office/drawing/2014/main" id="{DFFDA149-AF8A-0A4E-B92C-3B4E7B1C5CC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="" xmlns:a16="http://schemas.microsoft.com/office/drawing/2014/main" id="{1C7A3D3F-AC1B-E04B-9681-CF5A2A19FF89}"/>
              </a:ext>
            </a:extLst>
          </p:cNvPr>
          <p:cNvSpPr txBox="1"/>
          <p:nvPr/>
        </p:nvSpPr>
        <p:spPr>
          <a:xfrm>
            <a:off x="5045284" y="4282504"/>
            <a:ext cx="30090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tería, cables y conector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="" xmlns:a16="http://schemas.microsoft.com/office/drawing/2014/main" id="{E6378CE0-FCFB-1D41-AD00-0CC53E941B9A}"/>
              </a:ext>
            </a:extLst>
          </p:cNvPr>
          <p:cNvSpPr txBox="1"/>
          <p:nvPr/>
        </p:nvSpPr>
        <p:spPr>
          <a:xfrm>
            <a:off x="4434371" y="4858454"/>
            <a:ext cx="318083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atería cargada, limpia, sin derrames, sin residuos de electrolito, sin deformaciones. Conectores en buen estado, acople firme. Cables en buen estado con aislación completa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7D31AAA6-0B7C-EA40-8D0C-D614A584034A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="" xmlns:a16="http://schemas.microsoft.com/office/drawing/2014/main" id="{80B76686-7D14-5E40-AF90-547CC7803174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="" xmlns:a16="http://schemas.microsoft.com/office/drawing/2014/main" id="{00EC8087-E094-8A4C-8092-5F64F909EAD3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9E65ACB5-36AB-514B-A170-3C5468E1B6D1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="" xmlns:a16="http://schemas.microsoft.com/office/drawing/2014/main" id="{515E7B6E-B5F6-E84D-8599-D20A53582E14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n 84">
            <a:extLst>
              <a:ext uri="{FF2B5EF4-FFF2-40B4-BE49-F238E27FC236}">
                <a16:creationId xmlns="" xmlns:a16="http://schemas.microsoft.com/office/drawing/2014/main" id="{BE559B3B-FDAF-7D47-87E3-F732587872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26" y="1674492"/>
            <a:ext cx="732717" cy="732717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="" xmlns:a16="http://schemas.microsoft.com/office/drawing/2014/main" id="{8E2E1B6B-5168-C043-9188-14FF90A9FD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88" y="1696029"/>
            <a:ext cx="716882" cy="716882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="" xmlns:a16="http://schemas.microsoft.com/office/drawing/2014/main" id="{B8F71B42-1DF1-3D4D-97D8-3F1B8399CA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4855" y="1731286"/>
            <a:ext cx="634989" cy="634989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="" xmlns:a16="http://schemas.microsoft.com/office/drawing/2014/main" id="{FC38D325-AE4F-AD40-9CF4-5B76D69A10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25" y="4109019"/>
            <a:ext cx="651710" cy="651710"/>
          </a:xfrm>
          <a:prstGeom prst="rect">
            <a:avLst/>
          </a:prstGeom>
        </p:spPr>
      </p:pic>
      <p:pic>
        <p:nvPicPr>
          <p:cNvPr id="90" name="Imagen 89">
            <a:extLst>
              <a:ext uri="{FF2B5EF4-FFF2-40B4-BE49-F238E27FC236}">
                <a16:creationId xmlns="" xmlns:a16="http://schemas.microsoft.com/office/drawing/2014/main" id="{01933B2E-0D8D-1741-AE5B-1641DD2626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371" y="4106643"/>
            <a:ext cx="665805" cy="6658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45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="" xmlns:a16="http://schemas.microsoft.com/office/drawing/2014/main" id="{46FFF93C-4D05-AB4D-8E5A-26F9C9C0331B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A6B021BE-B983-0342-AA8C-5A0C2E2753E7}"/>
              </a:ext>
            </a:extLst>
          </p:cNvPr>
          <p:cNvSpPr txBox="1"/>
          <p:nvPr/>
        </p:nvSpPr>
        <p:spPr>
          <a:xfrm>
            <a:off x="1373834" y="1919663"/>
            <a:ext cx="23412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Nivel electrolito baterí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="" xmlns:a16="http://schemas.microsoft.com/office/drawing/2014/main" id="{25A9FE9E-A852-BC4A-8228-26D62783F3E1}"/>
              </a:ext>
            </a:extLst>
          </p:cNvPr>
          <p:cNvSpPr txBox="1"/>
          <p:nvPr/>
        </p:nvSpPr>
        <p:spPr>
          <a:xfrm>
            <a:off x="762919" y="2471815"/>
            <a:ext cx="31784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Nivel de electrolito en rang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="" xmlns:a16="http://schemas.microsoft.com/office/drawing/2014/main" id="{70F49844-1EC7-6045-831A-21C5F909A19A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="" xmlns:a16="http://schemas.microsoft.com/office/drawing/2014/main" id="{D37D875B-EBB5-174A-A297-1FA0FBCFC282}"/>
              </a:ext>
            </a:extLst>
          </p:cNvPr>
          <p:cNvSpPr txBox="1"/>
          <p:nvPr/>
        </p:nvSpPr>
        <p:spPr>
          <a:xfrm>
            <a:off x="5045287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xtintor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="" xmlns:a16="http://schemas.microsoft.com/office/drawing/2014/main" id="{9122DB79-1DA6-CC4A-BAD3-2CC2E1772661}"/>
              </a:ext>
            </a:extLst>
          </p:cNvPr>
          <p:cNvSpPr txBox="1"/>
          <p:nvPr/>
        </p:nvSpPr>
        <p:spPr>
          <a:xfrm>
            <a:off x="4434371" y="2471815"/>
            <a:ext cx="335934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nivel de carga (manómetro), certificación y mantención anual vigente, soporte firme.</a:t>
            </a:r>
            <a:endParaRPr kumimoji="0" lang="es-ES" sz="1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="" xmlns:a16="http://schemas.microsoft.com/office/drawing/2014/main" id="{EE8C4C3F-8292-8548-BC11-6E52C88DB06E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="" xmlns:a16="http://schemas.microsoft.com/office/drawing/2014/main" id="{60E5A792-E599-7246-9662-AE045366E61A}"/>
              </a:ext>
            </a:extLst>
          </p:cNvPr>
          <p:cNvSpPr txBox="1"/>
          <p:nvPr/>
        </p:nvSpPr>
        <p:spPr>
          <a:xfrm>
            <a:off x="8745767" y="1803551"/>
            <a:ext cx="21109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ntalla protectora (delantera y techo)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="" xmlns:a16="http://schemas.microsoft.com/office/drawing/2014/main" id="{4EC049C5-324E-0F40-91A3-53DE8BA6F617}"/>
              </a:ext>
            </a:extLst>
          </p:cNvPr>
          <p:cNvSpPr txBox="1"/>
          <p:nvPr/>
        </p:nvSpPr>
        <p:spPr>
          <a:xfrm>
            <a:off x="8105823" y="2471815"/>
            <a:ext cx="316842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existentes, completas, sin trizaduras, permiten buena visión.</a:t>
            </a:r>
          </a:p>
        </p:txBody>
      </p:sp>
      <p:cxnSp>
        <p:nvCxnSpPr>
          <p:cNvPr id="38" name="Conector recto 37">
            <a:extLst>
              <a:ext uri="{FF2B5EF4-FFF2-40B4-BE49-F238E27FC236}">
                <a16:creationId xmlns="" xmlns:a16="http://schemas.microsoft.com/office/drawing/2014/main" id="{A35CADEC-A344-B444-BDA2-32F5127A37E9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="" xmlns:a16="http://schemas.microsoft.com/office/drawing/2014/main" id="{6AEF9112-3F94-4644-BC59-AC855DF64000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B56470B-A048-1948-8A94-99E157E61EDD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Imagen 45">
            <a:extLst>
              <a:ext uri="{FF2B5EF4-FFF2-40B4-BE49-F238E27FC236}">
                <a16:creationId xmlns="" xmlns:a16="http://schemas.microsoft.com/office/drawing/2014/main" id="{24184160-1FE6-8F42-888A-3E9ED44714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374" y="1755572"/>
            <a:ext cx="635958" cy="635958"/>
          </a:xfrm>
          <a:prstGeom prst="rect">
            <a:avLst/>
          </a:prstGeom>
        </p:spPr>
      </p:pic>
      <p:pic>
        <p:nvPicPr>
          <p:cNvPr id="49" name="Imagen 48">
            <a:extLst>
              <a:ext uri="{FF2B5EF4-FFF2-40B4-BE49-F238E27FC236}">
                <a16:creationId xmlns="" xmlns:a16="http://schemas.microsoft.com/office/drawing/2014/main" id="{5FA91E24-A143-8145-9B04-5D40A6307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454" y="1702614"/>
            <a:ext cx="651710" cy="651710"/>
          </a:xfrm>
          <a:prstGeom prst="rect">
            <a:avLst/>
          </a:prstGeom>
        </p:spPr>
      </p:pic>
      <p:pic>
        <p:nvPicPr>
          <p:cNvPr id="77" name="Imagen 76">
            <a:extLst>
              <a:ext uri="{FF2B5EF4-FFF2-40B4-BE49-F238E27FC236}">
                <a16:creationId xmlns="" xmlns:a16="http://schemas.microsoft.com/office/drawing/2014/main" id="{8A2343DA-A3FA-8146-832A-966FCA5BCE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53" y="1706647"/>
            <a:ext cx="651709" cy="6517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08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90D3B9BE-10D4-734A-BA05-A05C758DE5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449262" y="542291"/>
            <a:ext cx="9865812" cy="523874"/>
          </a:xfrm>
        </p:spPr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Para cuidar de ti y tu entorno presentamos recomendaciones para: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="" xmlns:a16="http://schemas.microsoft.com/office/drawing/2014/main" id="{F9021F50-4353-0641-AF46-CE7B898F0030}"/>
              </a:ext>
            </a:extLst>
          </p:cNvPr>
          <p:cNvSpPr txBox="1"/>
          <p:nvPr/>
        </p:nvSpPr>
        <p:spPr>
          <a:xfrm>
            <a:off x="783204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mpresa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="" xmlns:a16="http://schemas.microsoft.com/office/drawing/2014/main" id="{3AFDE43C-50AE-3E49-9E57-E2173CFD4DF8}"/>
              </a:ext>
            </a:extLst>
          </p:cNvPr>
          <p:cNvSpPr txBox="1"/>
          <p:nvPr/>
        </p:nvSpPr>
        <p:spPr>
          <a:xfrm>
            <a:off x="4609008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omités paritario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E14CD734-92BD-1A42-83FE-900A38A8EA58}"/>
              </a:ext>
            </a:extLst>
          </p:cNvPr>
          <p:cNvSpPr txBox="1"/>
          <p:nvPr/>
        </p:nvSpPr>
        <p:spPr>
          <a:xfrm>
            <a:off x="8411769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Trabajadores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A332C7B3-5472-F644-B246-56F3CE3F1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946" y="2788578"/>
            <a:ext cx="1727315" cy="165246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="" xmlns:a16="http://schemas.microsoft.com/office/drawing/2014/main" id="{2E5A6A3F-0DEF-3446-A4A7-73C76D57D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621" y="2943055"/>
            <a:ext cx="1497988" cy="1497988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EAA2E1E4-7ACC-AF4F-83FD-E9B46A37B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891681" y="3055832"/>
            <a:ext cx="1693389" cy="12724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591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74982" y="3900249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Prohibir el uso de celular en áreas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altura máxima de la carga transportada en equipos. No debe obstaculizar la visión del operador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sarrollar Reglamento de Circulación, incluir reglas de convivencia y distanciamiento de seguridad entre peatones y equipos (mínimo 3 mts.)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Layout de circulación para equipos y peatones. Incluir barreras para separar flujos y proteger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="" xmlns:a16="http://schemas.microsoft.com/office/drawing/2014/main" id="{B3BE4C89-37F1-E846-BE12-81F4EDF69A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03" y="1358462"/>
            <a:ext cx="1615590" cy="1615590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="" xmlns:a16="http://schemas.microsoft.com/office/drawing/2014/main" id="{1DB4DC7A-7D70-B141-A55C-164BF99E27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562029"/>
            <a:ext cx="1580395" cy="1580395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="" xmlns:a16="http://schemas.microsoft.com/office/drawing/2014/main" id="{0BC25748-82D5-C643-81AA-9FD7E9901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197" y="1358461"/>
            <a:ext cx="1603991" cy="1603991"/>
          </a:xfrm>
          <a:prstGeom prst="rect">
            <a:avLst/>
          </a:prstGeom>
        </p:spPr>
      </p:pic>
      <p:pic>
        <p:nvPicPr>
          <p:cNvPr id="47" name="Imagen 46">
            <a:extLst>
              <a:ext uri="{FF2B5EF4-FFF2-40B4-BE49-F238E27FC236}">
                <a16:creationId xmlns="" xmlns:a16="http://schemas.microsoft.com/office/drawing/2014/main" id="{77308A48-8806-FC43-987D-0800CB1B47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506" y="3609702"/>
            <a:ext cx="1618619" cy="161861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33402015-CEDF-5E44-B016-146A4D8675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905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57053" y="3922536"/>
            <a:ext cx="2726357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finir uso obligatorio de ropa de alta visibilidad para toda person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dentificar áreas de alto riesgo como cruces o puntos ciegos y aumentar restricciones, demarcaciones, señalización, espejos panorámicos, etc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hibir peatones sin justificación y “atajos” por áreas de operación de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329760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Establecer velocidad máxima (recomendación: 10 km/h). Programar equipos o instalar limitadores de veloc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B6A26B9B-0622-8F4A-9D9A-B4B9DD8B01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22" y="1328495"/>
            <a:ext cx="1618243" cy="1618243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8A582458-08CE-7143-9A4B-9C2688B1CD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622167"/>
            <a:ext cx="1738435" cy="1738435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58D084A6-375B-9147-936E-9208093EC2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="" xmlns:a16="http://schemas.microsoft.com/office/drawing/2014/main" id="{9FBD8FCC-E5A9-7045-B629-506EB2D26D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="" xmlns:a16="http://schemas.microsoft.com/office/drawing/2014/main" id="{4D0B8116-11B1-A04F-A161-1F406DC271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1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comités paritarios</a:t>
            </a: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nvestigar todo tipo de incidentes relacionados a la operación de equipos de carg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mover la capacitación y reforzamiento a trabajadores sobre los peligros de la interacción entre equipos y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348611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Realizar recorridos de seguridad y revisar acciones y condiciones inseguras, como: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Distanciamientos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Protecciones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Demarcaciones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Señales de seguridad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Uso de ropa de alta visibilidad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Peatones en áreas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F1B5B23E-77FA-7F42-B522-45BBBD08EE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876" y="1313020"/>
            <a:ext cx="1615590" cy="1615590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4D907FF6-C79A-0A4F-9926-59040868B9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36" y="1196357"/>
            <a:ext cx="1684594" cy="1684594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7E2C61C4-7A0C-BD4B-8AC4-128598FA89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74" y="3569222"/>
            <a:ext cx="1760042" cy="1760042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="" xmlns:a16="http://schemas.microsoft.com/office/drawing/2014/main" id="{6F9FAA80-7475-4D49-A243-BA58D791674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40000"/>
          </a:blip>
          <a:srcRect r="29013"/>
          <a:stretch/>
        </p:blipFill>
        <p:spPr>
          <a:xfrm>
            <a:off x="9538443" y="3154906"/>
            <a:ext cx="2653557" cy="37380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504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trabajadore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74982" y="3898194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Tocar bocina y disminuir velocidad en salidas de racks, ingreso o salida de bodega, etc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No obstaculizar la visión al trasladar carga con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Respetar distancia de seguridad entre peatones y equipos (mínimo 3 mts.)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pasillo peatonal. Evitar ingreso a área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AE0C7DDF-DF50-014B-915E-B4F589858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587" y="1442841"/>
            <a:ext cx="1580395" cy="158039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="" xmlns:a16="http://schemas.microsoft.com/office/drawing/2014/main" id="{A724B431-5CD3-734B-9DC0-FD49F61C6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52" y="3596000"/>
            <a:ext cx="1603991" cy="1603991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="" xmlns:a16="http://schemas.microsoft.com/office/drawing/2014/main" id="{12300312-3AAD-3D46-A90B-CB8B856C6F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850" y="3555281"/>
            <a:ext cx="1828480" cy="1828480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="" xmlns:a16="http://schemas.microsoft.com/office/drawing/2014/main" id="{8DF6C08A-8D59-5848-A3DB-C65A2AF6B4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640" y="1729421"/>
            <a:ext cx="1153894" cy="1013779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6C77AFBE-4BC5-464B-B956-2A856A1C43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268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358893A9-75E6-FD45-B5C2-A37F1BE61C2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91D7553B-3FFF-6047-96D3-581ED27F3ADD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1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="" xmlns:a16="http://schemas.microsoft.com/office/drawing/2014/main" id="{B62A72D4-A53B-8B49-92F2-9B7C32D91C82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2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FD5C8F62-9C52-8340-82A2-E0066B86EF8A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3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="" xmlns:a16="http://schemas.microsoft.com/office/drawing/2014/main" id="{782DF500-0203-F24A-8A0E-330617E8C7D7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4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="" xmlns:a16="http://schemas.microsoft.com/office/drawing/2014/main" id="{C8ECA2F2-50F4-3F41-B5BD-81252D991F95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6AE49AC5-1301-734E-8BD6-826D979B9B3E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Objetivo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="" xmlns:a16="http://schemas.microsoft.com/office/drawing/2014/main" id="{FD8C40BB-B15B-A844-A1FF-541F929A4580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guntas</a:t>
            </a:r>
          </a:p>
        </p:txBody>
      </p:sp>
      <p:sp>
        <p:nvSpPr>
          <p:cNvPr id="18" name="Marcador de texto 5">
            <a:extLst>
              <a:ext uri="{FF2B5EF4-FFF2-40B4-BE49-F238E27FC236}">
                <a16:creationId xmlns="" xmlns:a16="http://schemas.microsoft.com/office/drawing/2014/main" id="{3C575E46-7519-5648-AFA8-A7DD75415D72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sentación </a:t>
            </a:r>
            <a:r>
              <a:rPr lang="es-CL" b="1" dirty="0" smtClean="0">
                <a:solidFill>
                  <a:schemeClr val="bg2"/>
                </a:solidFill>
                <a:latin typeface="ACHS Nueva Sans SemiBold" pitchFamily="2" charset="77"/>
              </a:rPr>
              <a:t>de la charla</a:t>
            </a:r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  <a:p>
            <a:pPr algn="ctr"/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03F854EF-F27B-BE48-A769-4C0496D2DA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="" xmlns:a16="http://schemas.microsoft.com/office/drawing/2014/main" id="{56C07644-EDAE-3C4A-AC80-835AF3C008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0960" y="3076234"/>
            <a:ext cx="1102987" cy="103995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="" xmlns:a16="http://schemas.microsoft.com/office/drawing/2014/main" id="{047C67DE-090A-0A4D-9DF0-AEED1D1CC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7704" y="3165157"/>
            <a:ext cx="1157089" cy="112494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E2E5AB2E-67FB-294F-8367-B0F31C7289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3515201" y="3056763"/>
            <a:ext cx="1427380" cy="1341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trabajadore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57053" y="3898194"/>
            <a:ext cx="2726357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ropa de alta visibil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No usar distractores al caminar o al operar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tenerse, mirar y escuchar antes de ingresar a un área con equipos en movimiento. Hacer contacto visual con operadores y esperar preferencia de paso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Operar equipos a velocidad moderada (recomendación: 10 km/h).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24" name="Imagen 23">
            <a:extLst>
              <a:ext uri="{FF2B5EF4-FFF2-40B4-BE49-F238E27FC236}">
                <a16:creationId xmlns="" xmlns:a16="http://schemas.microsoft.com/office/drawing/2014/main" id="{00445BF0-CD10-B142-BEE4-C9F6C5C59E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="" xmlns:a16="http://schemas.microsoft.com/office/drawing/2014/main" id="{530F3FC2-3FAF-8C4E-A455-9794DAFCB0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26" y="3590162"/>
            <a:ext cx="1738435" cy="1738435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="" xmlns:a16="http://schemas.microsoft.com/office/drawing/2014/main" id="{FD931538-CD8C-644D-8F5C-C58978C359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6AAD08EB-A647-0444-9F57-1A8416D29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9308E45A-AA9C-1E4C-AEC4-ADDA226343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644" y="1715615"/>
            <a:ext cx="1313277" cy="6972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398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="" xmlns:a16="http://schemas.microsoft.com/office/drawing/2014/main" id="{FA3B80DC-0769-D24C-B91C-37065161807A}"/>
              </a:ext>
            </a:extLst>
          </p:cNvPr>
          <p:cNvGrpSpPr/>
          <p:nvPr/>
        </p:nvGrpSpPr>
        <p:grpSpPr>
          <a:xfrm>
            <a:off x="4230202" y="946282"/>
            <a:ext cx="5671370" cy="5671370"/>
            <a:chOff x="4230202" y="946282"/>
            <a:chExt cx="5671370" cy="5671370"/>
          </a:xfrm>
        </p:grpSpPr>
        <p:pic>
          <p:nvPicPr>
            <p:cNvPr id="16" name="Imagen 15">
              <a:extLst>
                <a:ext uri="{FF2B5EF4-FFF2-40B4-BE49-F238E27FC236}">
                  <a16:creationId xmlns="" xmlns:a16="http://schemas.microsoft.com/office/drawing/2014/main" id="{22983AD7-E872-8744-B692-17ADAF8A75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00" t="9404" r="6457" b="12048"/>
            <a:stretch/>
          </p:blipFill>
          <p:spPr>
            <a:xfrm>
              <a:off x="4330685" y="1539083"/>
              <a:ext cx="5365709" cy="4822346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Imagen 10">
              <a:extLst>
                <a:ext uri="{FF2B5EF4-FFF2-40B4-BE49-F238E27FC236}">
                  <a16:creationId xmlns="" xmlns:a16="http://schemas.microsoft.com/office/drawing/2014/main" id="{342E6125-AAA6-304D-AC32-F78AAE25D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30202" y="946282"/>
              <a:ext cx="5671370" cy="5671370"/>
            </a:xfrm>
            <a:prstGeom prst="rect">
              <a:avLst/>
            </a:prstGeom>
          </p:spPr>
        </p:pic>
      </p:grp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0F94D36E-5851-C34F-8908-F85EDF792B34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="" xmlns:a16="http://schemas.microsoft.com/office/drawing/2014/main" id="{86C95350-27B3-7149-914E-D60CA6732A6D}"/>
              </a:ext>
            </a:extLst>
          </p:cNvPr>
          <p:cNvSpPr txBox="1">
            <a:spLocks/>
          </p:cNvSpPr>
          <p:nvPr/>
        </p:nvSpPr>
        <p:spPr>
          <a:xfrm>
            <a:off x="449263" y="1539083"/>
            <a:ext cx="2783794" cy="12367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scripción, principales peligros e incidentes en los trabajos relacionados con Apilador eléctrico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022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9140F96-0E05-B141-AE70-8963550CE41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966894"/>
            <a:ext cx="9865812" cy="356282"/>
          </a:xfr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Entrega de material preventivo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="" xmlns:a16="http://schemas.microsoft.com/office/drawing/2014/main" id="{AA6CA143-C962-E344-9EAB-F4BF86D58A8B}"/>
              </a:ext>
            </a:extLst>
          </p:cNvPr>
          <p:cNvGrpSpPr/>
          <p:nvPr/>
        </p:nvGrpSpPr>
        <p:grpSpPr>
          <a:xfrm>
            <a:off x="3477358" y="1299922"/>
            <a:ext cx="6899677" cy="5203804"/>
            <a:chOff x="3477358" y="1299922"/>
            <a:chExt cx="6899677" cy="5203804"/>
          </a:xfrm>
        </p:grpSpPr>
        <p:pic>
          <p:nvPicPr>
            <p:cNvPr id="12" name="Imagen 11">
              <a:extLst>
                <a:ext uri="{FF2B5EF4-FFF2-40B4-BE49-F238E27FC236}">
                  <a16:creationId xmlns="" xmlns:a16="http://schemas.microsoft.com/office/drawing/2014/main" id="{9B5BB33B-96A8-2A4F-A057-B7C180D13F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tretch/>
          </p:blipFill>
          <p:spPr>
            <a:xfrm>
              <a:off x="3477358" y="1299922"/>
              <a:ext cx="6899677" cy="5203804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  <p:sp>
          <p:nvSpPr>
            <p:cNvPr id="7" name="Rectángulo 6">
              <a:extLst>
                <a:ext uri="{FF2B5EF4-FFF2-40B4-BE49-F238E27FC236}">
                  <a16:creationId xmlns="" xmlns:a16="http://schemas.microsoft.com/office/drawing/2014/main" id="{3AA0A336-E0BA-FE4E-824D-8336F1DD8758}"/>
                </a:ext>
              </a:extLst>
            </p:cNvPr>
            <p:cNvSpPr/>
            <p:nvPr/>
          </p:nvSpPr>
          <p:spPr>
            <a:xfrm>
              <a:off x="9223865" y="1570103"/>
              <a:ext cx="889232" cy="8411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pic>
          <p:nvPicPr>
            <p:cNvPr id="8" name="Picture 9">
              <a:extLst>
                <a:ext uri="{FF2B5EF4-FFF2-40B4-BE49-F238E27FC236}">
                  <a16:creationId xmlns="" xmlns:a16="http://schemas.microsoft.com/office/drawing/2014/main" id="{373A8551-288B-7045-9EED-6EB0C4E4E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78159" y="1778061"/>
              <a:ext cx="1165704" cy="477747"/>
            </a:xfrm>
            <a:prstGeom prst="rect">
              <a:avLst/>
            </a:prstGeom>
          </p:spPr>
        </p:pic>
      </p:grp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8B6DD8B3-2E70-E24C-B1FA-51A1EB3C69AF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430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35785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6576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1771056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1">
            <a:extLst>
              <a:ext uri="{FF2B5EF4-FFF2-40B4-BE49-F238E27FC236}">
                <a16:creationId xmlns="" xmlns:a16="http://schemas.microsoft.com/office/drawing/2014/main" id="{B7354212-B87C-CA4B-9B1E-CB427FA69E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65124" y="2111853"/>
            <a:ext cx="7073169" cy="3323748"/>
          </a:xfrm>
        </p:spPr>
        <p:txBody>
          <a:bodyPr>
            <a:normAutofit/>
          </a:bodyPr>
          <a:lstStyle/>
          <a:p>
            <a:r>
              <a:rPr lang="es-CL" sz="4000" dirty="0">
                <a:latin typeface="ACHS Nueva Sans Medium" pitchFamily="2" charset="77"/>
              </a:rPr>
              <a:t>¿Sabías que utilizar máquinas sin el conocimiento necesario es una de las principales causas de accidentes graves y fatales?</a:t>
            </a:r>
          </a:p>
          <a:p>
            <a:endParaRPr lang="es-CL" sz="4000" dirty="0">
              <a:latin typeface="ACHS Nueva Sans Medium" pitchFamily="2" charset="77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091391CF-077A-FC4D-A943-F41497BE90B6}"/>
              </a:ext>
            </a:extLst>
          </p:cNvPr>
          <p:cNvSpPr txBox="1">
            <a:spLocks/>
          </p:cNvSpPr>
          <p:nvPr/>
        </p:nvSpPr>
        <p:spPr>
          <a:xfrm>
            <a:off x="3865124" y="1117600"/>
            <a:ext cx="6866284" cy="7063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>
                <a:solidFill>
                  <a:schemeClr val="tx1"/>
                </a:solidFill>
                <a:latin typeface="ACHS Nueva Sans Medium" pitchFamily="2" charset="77"/>
              </a:rPr>
              <a:t>Seguridad para el movimiento de carga Apilador eléctric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AB4FE815-25EE-CF43-B6E2-02DBF84085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165" y="1823986"/>
            <a:ext cx="2868235" cy="26633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402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49A9BEA1-30E4-014A-A37A-20AE8C43F98C}"/>
              </a:ext>
            </a:extLst>
          </p:cNvPr>
          <p:cNvSpPr txBox="1">
            <a:spLocks/>
          </p:cNvSpPr>
          <p:nvPr/>
        </p:nvSpPr>
        <p:spPr>
          <a:xfrm>
            <a:off x="3865125" y="2111853"/>
            <a:ext cx="6866284" cy="318828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tabLst/>
              <a:defRPr sz="5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4000" dirty="0">
                <a:latin typeface="ACHS Nueva Sans Medium" pitchFamily="2" charset="77"/>
              </a:rPr>
              <a:t>Los trabajadores deben conocer en profundidad los equipos con los que trabajan y los peligros que ellos involucran antes, durante y después de su operación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27CB4E50-47E2-C347-AA69-DC30C9229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211" y="1823986"/>
            <a:ext cx="2065865" cy="2892211"/>
          </a:xfrm>
          <a:prstGeom prst="rect">
            <a:avLst/>
          </a:prstGeom>
        </p:spPr>
      </p:pic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754F436C-6531-7245-8B40-C03D7A4F4A5C}"/>
              </a:ext>
            </a:extLst>
          </p:cNvPr>
          <p:cNvSpPr txBox="1">
            <a:spLocks/>
          </p:cNvSpPr>
          <p:nvPr/>
        </p:nvSpPr>
        <p:spPr>
          <a:xfrm>
            <a:off x="3865124" y="1117600"/>
            <a:ext cx="6866284" cy="7063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>
                <a:solidFill>
                  <a:schemeClr val="tx1"/>
                </a:solidFill>
                <a:latin typeface="ACHS Nueva Sans Medium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746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4B69F25A-FB53-0B45-A467-2B39FCB28283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="" xmlns:a16="http://schemas.microsoft.com/office/drawing/2014/main" id="{3BF7AE0E-771A-4941-AA92-94C5BDA69BB8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Del apilador debes saber al menos que: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A4497D75-832F-C94E-BA85-A8415D9585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701" y="1363353"/>
            <a:ext cx="5254299" cy="5254299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="" xmlns:a16="http://schemas.microsoft.com/office/drawing/2014/main" id="{114C2679-D7F4-3B47-8377-5C376EAA9FFD}"/>
              </a:ext>
            </a:extLst>
          </p:cNvPr>
          <p:cNvGrpSpPr/>
          <p:nvPr/>
        </p:nvGrpSpPr>
        <p:grpSpPr>
          <a:xfrm>
            <a:off x="449262" y="2270238"/>
            <a:ext cx="6774498" cy="3593337"/>
            <a:chOff x="449262" y="2268221"/>
            <a:chExt cx="7353923" cy="3900676"/>
          </a:xfrm>
        </p:grpSpPr>
        <p:grpSp>
          <p:nvGrpSpPr>
            <p:cNvPr id="14" name="Grupo 13">
              <a:extLst>
                <a:ext uri="{FF2B5EF4-FFF2-40B4-BE49-F238E27FC236}">
                  <a16:creationId xmlns="" xmlns:a16="http://schemas.microsoft.com/office/drawing/2014/main" id="{5BAE477D-B36E-FD41-8277-96E4B51708BC}"/>
                </a:ext>
              </a:extLst>
            </p:cNvPr>
            <p:cNvGrpSpPr/>
            <p:nvPr/>
          </p:nvGrpSpPr>
          <p:grpSpPr>
            <a:xfrm>
              <a:off x="449262" y="2268221"/>
              <a:ext cx="7353923" cy="912839"/>
              <a:chOff x="927616" y="3456941"/>
              <a:chExt cx="7353923" cy="912839"/>
            </a:xfrm>
          </p:grpSpPr>
          <p:sp>
            <p:nvSpPr>
              <p:cNvPr id="16" name="Forma libre 15">
                <a:extLst>
                  <a:ext uri="{FF2B5EF4-FFF2-40B4-BE49-F238E27FC236}">
                    <a16:creationId xmlns="" xmlns:a16="http://schemas.microsoft.com/office/drawing/2014/main" id="{282B8847-818A-FF40-ACB2-927E0882F91B}"/>
                  </a:ext>
                </a:extLst>
              </p:cNvPr>
              <p:cNvSpPr/>
              <p:nvPr/>
            </p:nvSpPr>
            <p:spPr>
              <a:xfrm>
                <a:off x="1660662" y="3613166"/>
                <a:ext cx="6620877" cy="720000"/>
              </a:xfrm>
              <a:custGeom>
                <a:avLst/>
                <a:gdLst>
                  <a:gd name="connsiteX0" fmla="*/ 0 w 5054956"/>
                  <a:gd name="connsiteY0" fmla="*/ 0 h 873244"/>
                  <a:gd name="connsiteX1" fmla="*/ 5054956 w 5054956"/>
                  <a:gd name="connsiteY1" fmla="*/ 0 h 873244"/>
                  <a:gd name="connsiteX2" fmla="*/ 5054956 w 5054956"/>
                  <a:gd name="connsiteY2" fmla="*/ 873244 h 873244"/>
                  <a:gd name="connsiteX3" fmla="*/ 0 w 5054956"/>
                  <a:gd name="connsiteY3" fmla="*/ 873244 h 873244"/>
                  <a:gd name="connsiteX4" fmla="*/ 0 w 5054956"/>
                  <a:gd name="connsiteY4" fmla="*/ 0 h 87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4956" h="873244">
                    <a:moveTo>
                      <a:pt x="0" y="0"/>
                    </a:moveTo>
                    <a:lnTo>
                      <a:pt x="5054956" y="0"/>
                    </a:lnTo>
                    <a:lnTo>
                      <a:pt x="5054956" y="873244"/>
                    </a:lnTo>
                    <a:lnTo>
                      <a:pt x="0" y="8732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12000" tIns="50800" rIns="324000" bIns="50800" numCol="1" spcCol="1270" anchor="ctr" anchorCtr="0">
                <a:noAutofit/>
              </a:bodyPr>
              <a:lstStyle/>
              <a:p>
                <a:pPr>
                  <a:buClr>
                    <a:srgbClr val="006600"/>
                  </a:buClr>
                </a:pPr>
                <a:r>
                  <a:rPr lang="es-ES" sz="1800" kern="0" dirty="0">
                    <a:solidFill>
                      <a:schemeClr val="tx1"/>
                    </a:solidFill>
                    <a:latin typeface="ACHS Nueva Sans Medium" pitchFamily="2" charset="77"/>
                    <a:ea typeface="Arial"/>
                    <a:cs typeface="Arial"/>
                    <a:sym typeface="Arial"/>
                  </a:rPr>
                  <a:t>Se puede manipular hacia adelante o atrás.</a:t>
                </a:r>
              </a:p>
            </p:txBody>
          </p:sp>
          <p:sp>
            <p:nvSpPr>
              <p:cNvPr id="17" name="Elipse 16">
                <a:extLst>
                  <a:ext uri="{FF2B5EF4-FFF2-40B4-BE49-F238E27FC236}">
                    <a16:creationId xmlns="" xmlns:a16="http://schemas.microsoft.com/office/drawing/2014/main" id="{0A254222-B720-504C-98DF-010013FAAE52}"/>
                  </a:ext>
                </a:extLst>
              </p:cNvPr>
              <p:cNvSpPr/>
              <p:nvPr/>
            </p:nvSpPr>
            <p:spPr>
              <a:xfrm>
                <a:off x="927616" y="3456941"/>
                <a:ext cx="964438" cy="912839"/>
              </a:xfrm>
              <a:prstGeom prst="ellipse">
                <a:avLst/>
              </a:prstGeom>
              <a:solidFill>
                <a:schemeClr val="accent1"/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CHS Nueva Sans Medium" pitchFamily="2" charset="77"/>
                  </a:rPr>
                  <a:t>1</a:t>
                </a:r>
              </a:p>
            </p:txBody>
          </p:sp>
        </p:grpSp>
        <p:grpSp>
          <p:nvGrpSpPr>
            <p:cNvPr id="18" name="Grupo 17">
              <a:extLst>
                <a:ext uri="{FF2B5EF4-FFF2-40B4-BE49-F238E27FC236}">
                  <a16:creationId xmlns="" xmlns:a16="http://schemas.microsoft.com/office/drawing/2014/main" id="{D3D0FAD6-0757-B94B-87F3-6C79F08F77AB}"/>
                </a:ext>
              </a:extLst>
            </p:cNvPr>
            <p:cNvGrpSpPr/>
            <p:nvPr/>
          </p:nvGrpSpPr>
          <p:grpSpPr>
            <a:xfrm>
              <a:off x="449262" y="3719757"/>
              <a:ext cx="7353923" cy="912839"/>
              <a:chOff x="927616" y="3456941"/>
              <a:chExt cx="7353923" cy="912839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="" xmlns:a16="http://schemas.microsoft.com/office/drawing/2014/main" id="{96A06077-6074-6946-AA49-4B5A7F17F1E4}"/>
                  </a:ext>
                </a:extLst>
              </p:cNvPr>
              <p:cNvSpPr/>
              <p:nvPr/>
            </p:nvSpPr>
            <p:spPr>
              <a:xfrm>
                <a:off x="1660662" y="3649780"/>
                <a:ext cx="6620877" cy="720000"/>
              </a:xfrm>
              <a:custGeom>
                <a:avLst/>
                <a:gdLst>
                  <a:gd name="connsiteX0" fmla="*/ 0 w 5054956"/>
                  <a:gd name="connsiteY0" fmla="*/ 0 h 873244"/>
                  <a:gd name="connsiteX1" fmla="*/ 5054956 w 5054956"/>
                  <a:gd name="connsiteY1" fmla="*/ 0 h 873244"/>
                  <a:gd name="connsiteX2" fmla="*/ 5054956 w 5054956"/>
                  <a:gd name="connsiteY2" fmla="*/ 873244 h 873244"/>
                  <a:gd name="connsiteX3" fmla="*/ 0 w 5054956"/>
                  <a:gd name="connsiteY3" fmla="*/ 873244 h 873244"/>
                  <a:gd name="connsiteX4" fmla="*/ 0 w 5054956"/>
                  <a:gd name="connsiteY4" fmla="*/ 0 h 87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4956" h="873244">
                    <a:moveTo>
                      <a:pt x="0" y="0"/>
                    </a:moveTo>
                    <a:lnTo>
                      <a:pt x="5054956" y="0"/>
                    </a:lnTo>
                    <a:lnTo>
                      <a:pt x="5054956" y="873244"/>
                    </a:lnTo>
                    <a:lnTo>
                      <a:pt x="0" y="8732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12000" tIns="50800" rIns="324000" bIns="50800" numCol="1" spcCol="1270" anchor="ctr" anchorCtr="0">
                <a:noAutofit/>
              </a:bodyPr>
              <a:lstStyle/>
              <a:p>
                <a:pPr>
                  <a:buClr>
                    <a:srgbClr val="006600"/>
                  </a:buClr>
                </a:pPr>
                <a:r>
                  <a:rPr lang="es-ES" sz="1800" kern="0" dirty="0">
                    <a:solidFill>
                      <a:schemeClr val="tx1"/>
                    </a:solidFill>
                    <a:latin typeface="ACHS Nueva Sans Medium" pitchFamily="2" charset="77"/>
                    <a:ea typeface="Arial"/>
                    <a:cs typeface="Arial"/>
                    <a:sym typeface="Arial"/>
                  </a:rPr>
                  <a:t>Se pueden tomar productos en distintos niveles.</a:t>
                </a:r>
              </a:p>
            </p:txBody>
          </p:sp>
          <p:sp>
            <p:nvSpPr>
              <p:cNvPr id="20" name="Elipse 19">
                <a:extLst>
                  <a:ext uri="{FF2B5EF4-FFF2-40B4-BE49-F238E27FC236}">
                    <a16:creationId xmlns="" xmlns:a16="http://schemas.microsoft.com/office/drawing/2014/main" id="{EF8E09B4-A00C-3843-84BC-4F77B666D6CB}"/>
                  </a:ext>
                </a:extLst>
              </p:cNvPr>
              <p:cNvSpPr/>
              <p:nvPr/>
            </p:nvSpPr>
            <p:spPr>
              <a:xfrm>
                <a:off x="927616" y="3456941"/>
                <a:ext cx="964438" cy="912839"/>
              </a:xfrm>
              <a:prstGeom prst="ellipse">
                <a:avLst/>
              </a:prstGeom>
              <a:solidFill>
                <a:schemeClr val="bg2"/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CHS Nueva Sans Medium" pitchFamily="2" charset="77"/>
                  </a:rPr>
                  <a:t>2</a:t>
                </a:r>
              </a:p>
            </p:txBody>
          </p:sp>
        </p:grpSp>
        <p:grpSp>
          <p:nvGrpSpPr>
            <p:cNvPr id="21" name="Grupo 20">
              <a:extLst>
                <a:ext uri="{FF2B5EF4-FFF2-40B4-BE49-F238E27FC236}">
                  <a16:creationId xmlns="" xmlns:a16="http://schemas.microsoft.com/office/drawing/2014/main" id="{A51DDD15-0972-394C-9ED1-29D43B38D696}"/>
                </a:ext>
              </a:extLst>
            </p:cNvPr>
            <p:cNvGrpSpPr/>
            <p:nvPr/>
          </p:nvGrpSpPr>
          <p:grpSpPr>
            <a:xfrm>
              <a:off x="449262" y="5256058"/>
              <a:ext cx="7353923" cy="912839"/>
              <a:chOff x="927616" y="3456941"/>
              <a:chExt cx="7353923" cy="912839"/>
            </a:xfrm>
          </p:grpSpPr>
          <p:sp>
            <p:nvSpPr>
              <p:cNvPr id="22" name="Forma libre 21">
                <a:extLst>
                  <a:ext uri="{FF2B5EF4-FFF2-40B4-BE49-F238E27FC236}">
                    <a16:creationId xmlns="" xmlns:a16="http://schemas.microsoft.com/office/drawing/2014/main" id="{77BFAAF8-FB41-924D-919F-DA48AD1440BF}"/>
                  </a:ext>
                </a:extLst>
              </p:cNvPr>
              <p:cNvSpPr/>
              <p:nvPr/>
            </p:nvSpPr>
            <p:spPr>
              <a:xfrm>
                <a:off x="1660662" y="3649780"/>
                <a:ext cx="6620877" cy="720000"/>
              </a:xfrm>
              <a:custGeom>
                <a:avLst/>
                <a:gdLst>
                  <a:gd name="connsiteX0" fmla="*/ 0 w 5054956"/>
                  <a:gd name="connsiteY0" fmla="*/ 0 h 873244"/>
                  <a:gd name="connsiteX1" fmla="*/ 5054956 w 5054956"/>
                  <a:gd name="connsiteY1" fmla="*/ 0 h 873244"/>
                  <a:gd name="connsiteX2" fmla="*/ 5054956 w 5054956"/>
                  <a:gd name="connsiteY2" fmla="*/ 873244 h 873244"/>
                  <a:gd name="connsiteX3" fmla="*/ 0 w 5054956"/>
                  <a:gd name="connsiteY3" fmla="*/ 873244 h 873244"/>
                  <a:gd name="connsiteX4" fmla="*/ 0 w 5054956"/>
                  <a:gd name="connsiteY4" fmla="*/ 0 h 87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4956" h="873244">
                    <a:moveTo>
                      <a:pt x="0" y="0"/>
                    </a:moveTo>
                    <a:lnTo>
                      <a:pt x="5054956" y="0"/>
                    </a:lnTo>
                    <a:lnTo>
                      <a:pt x="5054956" y="873244"/>
                    </a:lnTo>
                    <a:lnTo>
                      <a:pt x="0" y="8732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12000" tIns="50800" rIns="324000" bIns="50800" numCol="1" spcCol="1270" anchor="ctr" anchorCtr="0">
                <a:noAutofit/>
              </a:bodyPr>
              <a:lstStyle/>
              <a:p>
                <a:pPr>
                  <a:buClr>
                    <a:srgbClr val="006600"/>
                  </a:buClr>
                </a:pPr>
                <a:r>
                  <a:rPr lang="es-ES" sz="1800" kern="0" dirty="0">
                    <a:solidFill>
                      <a:schemeClr val="tx1"/>
                    </a:solidFill>
                    <a:latin typeface="ACHS Nueva Sans Medium" pitchFamily="2" charset="77"/>
                    <a:ea typeface="Arial"/>
                    <a:cs typeface="Arial"/>
                    <a:sym typeface="Arial"/>
                  </a:rPr>
                  <a:t>Para su desplazamiento cuenta con un motor eléctrico que permite su autopropulsión.</a:t>
                </a:r>
              </a:p>
            </p:txBody>
          </p:sp>
          <p:sp>
            <p:nvSpPr>
              <p:cNvPr id="23" name="Elipse 22">
                <a:extLst>
                  <a:ext uri="{FF2B5EF4-FFF2-40B4-BE49-F238E27FC236}">
                    <a16:creationId xmlns="" xmlns:a16="http://schemas.microsoft.com/office/drawing/2014/main" id="{8C2DF17D-842E-A244-A8AD-0AC3B97BB560}"/>
                  </a:ext>
                </a:extLst>
              </p:cNvPr>
              <p:cNvSpPr/>
              <p:nvPr/>
            </p:nvSpPr>
            <p:spPr>
              <a:xfrm>
                <a:off x="927616" y="3456941"/>
                <a:ext cx="964438" cy="912839"/>
              </a:xfrm>
              <a:prstGeom prst="ellipse">
                <a:avLst/>
              </a:prstGeom>
              <a:solidFill>
                <a:schemeClr val="accent1"/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CHS Nueva Sans Medium" pitchFamily="2" charset="77"/>
                  </a:rPr>
                  <a:t>3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5150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  <p:cxnSp>
        <p:nvCxnSpPr>
          <p:cNvPr id="6" name="Straight Connector 33">
            <a:extLst>
              <a:ext uri="{FF2B5EF4-FFF2-40B4-BE49-F238E27FC236}">
                <a16:creationId xmlns="" xmlns:a16="http://schemas.microsoft.com/office/drawing/2014/main" id="{369613DE-CA00-184B-BAC0-F366D183035C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 flipV="1">
            <a:off x="5670272" y="2807945"/>
            <a:ext cx="1396587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4">
            <a:extLst>
              <a:ext uri="{FF2B5EF4-FFF2-40B4-BE49-F238E27FC236}">
                <a16:creationId xmlns="" xmlns:a16="http://schemas.microsoft.com/office/drawing/2014/main" id="{4F768295-65E3-E041-B241-18BDA0BCE756}"/>
              </a:ext>
            </a:extLst>
          </p:cNvPr>
          <p:cNvCxnSpPr>
            <a:cxnSpLocks/>
            <a:stCxn id="22" idx="2"/>
            <a:endCxn id="20" idx="6"/>
          </p:cNvCxnSpPr>
          <p:nvPr/>
        </p:nvCxnSpPr>
        <p:spPr>
          <a:xfrm flipH="1" flipV="1">
            <a:off x="7655185" y="2807945"/>
            <a:ext cx="13867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5">
            <a:extLst>
              <a:ext uri="{FF2B5EF4-FFF2-40B4-BE49-F238E27FC236}">
                <a16:creationId xmlns="" xmlns:a16="http://schemas.microsoft.com/office/drawing/2014/main" id="{C869AB8E-A734-FF4C-A6E7-628569ACCEC9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 flipV="1">
            <a:off x="9630222" y="2807945"/>
            <a:ext cx="12823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6">
            <a:extLst>
              <a:ext uri="{FF2B5EF4-FFF2-40B4-BE49-F238E27FC236}">
                <a16:creationId xmlns="" xmlns:a16="http://schemas.microsoft.com/office/drawing/2014/main" id="{CD6B9140-74ED-3442-BFD6-EA6BF14C1F8A}"/>
              </a:ext>
            </a:extLst>
          </p:cNvPr>
          <p:cNvCxnSpPr>
            <a:cxnSpLocks/>
            <a:stCxn id="18" idx="2"/>
            <a:endCxn id="17" idx="3"/>
          </p:cNvCxnSpPr>
          <p:nvPr/>
        </p:nvCxnSpPr>
        <p:spPr>
          <a:xfrm flipH="1" flipV="1">
            <a:off x="3523727" y="2786744"/>
            <a:ext cx="1558217" cy="10528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7">
            <a:extLst>
              <a:ext uri="{FF2B5EF4-FFF2-40B4-BE49-F238E27FC236}">
                <a16:creationId xmlns="" xmlns:a16="http://schemas.microsoft.com/office/drawing/2014/main" id="{0F24823B-10ED-B44D-AC56-DB2B99A5536F}"/>
              </a:ext>
            </a:extLst>
          </p:cNvPr>
          <p:cNvCxnSpPr>
            <a:cxnSpLocks/>
            <a:stCxn id="13" idx="6"/>
          </p:cNvCxnSpPr>
          <p:nvPr/>
        </p:nvCxnSpPr>
        <p:spPr>
          <a:xfrm flipV="1">
            <a:off x="1601400" y="2755280"/>
            <a:ext cx="1608069" cy="108789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38">
            <a:extLst>
              <a:ext uri="{FF2B5EF4-FFF2-40B4-BE49-F238E27FC236}">
                <a16:creationId xmlns="" xmlns:a16="http://schemas.microsoft.com/office/drawing/2014/main" id="{B964A9B0-543C-9646-BAD3-51436D25A669}"/>
              </a:ext>
            </a:extLst>
          </p:cNvPr>
          <p:cNvSpPr/>
          <p:nvPr/>
        </p:nvSpPr>
        <p:spPr>
          <a:xfrm>
            <a:off x="1013073" y="3549008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39">
            <a:extLst>
              <a:ext uri="{FF2B5EF4-FFF2-40B4-BE49-F238E27FC236}">
                <a16:creationId xmlns="" xmlns:a16="http://schemas.microsoft.com/office/drawing/2014/main" id="{FC5FEC1F-7826-BF42-9593-6753ECE9FFF3}"/>
              </a:ext>
            </a:extLst>
          </p:cNvPr>
          <p:cNvSpPr txBox="1"/>
          <p:nvPr/>
        </p:nvSpPr>
        <p:spPr>
          <a:xfrm>
            <a:off x="1105485" y="3567595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Oval 40">
            <a:extLst>
              <a:ext uri="{FF2B5EF4-FFF2-40B4-BE49-F238E27FC236}">
                <a16:creationId xmlns="" xmlns:a16="http://schemas.microsoft.com/office/drawing/2014/main" id="{73A6B248-D4A1-ED41-A75D-E53569B8E4CF}"/>
              </a:ext>
            </a:extLst>
          </p:cNvPr>
          <p:cNvSpPr/>
          <p:nvPr/>
        </p:nvSpPr>
        <p:spPr>
          <a:xfrm>
            <a:off x="3037962" y="2503958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41">
            <a:extLst>
              <a:ext uri="{FF2B5EF4-FFF2-40B4-BE49-F238E27FC236}">
                <a16:creationId xmlns="" xmlns:a16="http://schemas.microsoft.com/office/drawing/2014/main" id="{F5760B11-032C-DA48-9988-4CC80B3F5A19}"/>
              </a:ext>
            </a:extLst>
          </p:cNvPr>
          <p:cNvSpPr txBox="1"/>
          <p:nvPr/>
        </p:nvSpPr>
        <p:spPr>
          <a:xfrm>
            <a:off x="3140524" y="2509817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" name="Oval 42">
            <a:extLst>
              <a:ext uri="{FF2B5EF4-FFF2-40B4-BE49-F238E27FC236}">
                <a16:creationId xmlns="" xmlns:a16="http://schemas.microsoft.com/office/drawing/2014/main" id="{C8CC0D71-A9D3-D24F-9B06-71E865485873}"/>
              </a:ext>
            </a:extLst>
          </p:cNvPr>
          <p:cNvSpPr/>
          <p:nvPr/>
        </p:nvSpPr>
        <p:spPr>
          <a:xfrm>
            <a:off x="5081944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43">
            <a:extLst>
              <a:ext uri="{FF2B5EF4-FFF2-40B4-BE49-F238E27FC236}">
                <a16:creationId xmlns="" xmlns:a16="http://schemas.microsoft.com/office/drawing/2014/main" id="{62CE0B4C-E187-0946-BB6E-437FE7B86CC3}"/>
              </a:ext>
            </a:extLst>
          </p:cNvPr>
          <p:cNvSpPr txBox="1"/>
          <p:nvPr/>
        </p:nvSpPr>
        <p:spPr>
          <a:xfrm>
            <a:off x="5184506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0" name="Oval 44">
            <a:extLst>
              <a:ext uri="{FF2B5EF4-FFF2-40B4-BE49-F238E27FC236}">
                <a16:creationId xmlns="" xmlns:a16="http://schemas.microsoft.com/office/drawing/2014/main" id="{1C1742F8-3A62-6542-BFCB-1C5FF33C2C98}"/>
              </a:ext>
            </a:extLst>
          </p:cNvPr>
          <p:cNvSpPr/>
          <p:nvPr/>
        </p:nvSpPr>
        <p:spPr>
          <a:xfrm>
            <a:off x="7066858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45">
            <a:extLst>
              <a:ext uri="{FF2B5EF4-FFF2-40B4-BE49-F238E27FC236}">
                <a16:creationId xmlns="" xmlns:a16="http://schemas.microsoft.com/office/drawing/2014/main" id="{E01FF8E9-DE13-0D47-8959-2A40901C1A3B}"/>
              </a:ext>
            </a:extLst>
          </p:cNvPr>
          <p:cNvSpPr txBox="1"/>
          <p:nvPr/>
        </p:nvSpPr>
        <p:spPr>
          <a:xfrm>
            <a:off x="7152582" y="2506922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Oval 46">
            <a:extLst>
              <a:ext uri="{FF2B5EF4-FFF2-40B4-BE49-F238E27FC236}">
                <a16:creationId xmlns="" xmlns:a16="http://schemas.microsoft.com/office/drawing/2014/main" id="{6AD003AC-860A-DA42-BC40-3B74C5DF194C}"/>
              </a:ext>
            </a:extLst>
          </p:cNvPr>
          <p:cNvSpPr/>
          <p:nvPr/>
        </p:nvSpPr>
        <p:spPr>
          <a:xfrm>
            <a:off x="9041895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47">
            <a:extLst>
              <a:ext uri="{FF2B5EF4-FFF2-40B4-BE49-F238E27FC236}">
                <a16:creationId xmlns="" xmlns:a16="http://schemas.microsoft.com/office/drawing/2014/main" id="{707D11E9-8B4A-2E43-AFA7-551D55D12617}"/>
              </a:ext>
            </a:extLst>
          </p:cNvPr>
          <p:cNvSpPr txBox="1"/>
          <p:nvPr/>
        </p:nvSpPr>
        <p:spPr>
          <a:xfrm>
            <a:off x="9144457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4" name="TextBox 49">
            <a:extLst>
              <a:ext uri="{FF2B5EF4-FFF2-40B4-BE49-F238E27FC236}">
                <a16:creationId xmlns="" xmlns:a16="http://schemas.microsoft.com/office/drawing/2014/main" id="{B1F8BAAC-38D0-454B-BFF0-7FB2D02D4564}"/>
              </a:ext>
            </a:extLst>
          </p:cNvPr>
          <p:cNvSpPr txBox="1"/>
          <p:nvPr/>
        </p:nvSpPr>
        <p:spPr>
          <a:xfrm>
            <a:off x="8019046" y="4275721"/>
            <a:ext cx="2634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ES" sz="1600" dirty="0">
                <a:latin typeface="ACHS Nueva Sans Medium" pitchFamily="2" charset="77"/>
                <a:cs typeface="Arial" pitchFamily="34" charset="0"/>
              </a:rPr>
              <a:t>Manipulación y proceso de carga de baterí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5" name="TextBox 50">
            <a:extLst>
              <a:ext uri="{FF2B5EF4-FFF2-40B4-BE49-F238E27FC236}">
                <a16:creationId xmlns="" xmlns:a16="http://schemas.microsoft.com/office/drawing/2014/main" id="{7693951D-2FA1-684F-916B-0A74C5D9B8DF}"/>
              </a:ext>
            </a:extLst>
          </p:cNvPr>
          <p:cNvSpPr txBox="1"/>
          <p:nvPr/>
        </p:nvSpPr>
        <p:spPr>
          <a:xfrm>
            <a:off x="2111061" y="1745949"/>
            <a:ext cx="244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Desplazamiento y transporte horizontal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6" name="TextBox 51">
            <a:extLst>
              <a:ext uri="{FF2B5EF4-FFF2-40B4-BE49-F238E27FC236}">
                <a16:creationId xmlns="" xmlns:a16="http://schemas.microsoft.com/office/drawing/2014/main" id="{ACF39572-10F7-3343-B749-6E75694990F1}"/>
              </a:ext>
            </a:extLst>
          </p:cNvPr>
          <p:cNvSpPr txBox="1"/>
          <p:nvPr/>
        </p:nvSpPr>
        <p:spPr>
          <a:xfrm>
            <a:off x="443461" y="4312758"/>
            <a:ext cx="1727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Revisión y prueba diari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7" name="TextBox 52">
            <a:extLst>
              <a:ext uri="{FF2B5EF4-FFF2-40B4-BE49-F238E27FC236}">
                <a16:creationId xmlns="" xmlns:a16="http://schemas.microsoft.com/office/drawing/2014/main" id="{10CBAAB4-CF4C-6944-ACD4-F9D37988006A}"/>
              </a:ext>
            </a:extLst>
          </p:cNvPr>
          <p:cNvSpPr txBox="1"/>
          <p:nvPr/>
        </p:nvSpPr>
        <p:spPr>
          <a:xfrm>
            <a:off x="4435039" y="4307690"/>
            <a:ext cx="22653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Operación en altura y transporte vertical 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8" name="TextBox 53">
            <a:extLst>
              <a:ext uri="{FF2B5EF4-FFF2-40B4-BE49-F238E27FC236}">
                <a16:creationId xmlns="" xmlns:a16="http://schemas.microsoft.com/office/drawing/2014/main" id="{8E3165C2-40AB-4942-8634-9F02D59EE9F7}"/>
              </a:ext>
            </a:extLst>
          </p:cNvPr>
          <p:cNvSpPr txBox="1"/>
          <p:nvPr/>
        </p:nvSpPr>
        <p:spPr>
          <a:xfrm>
            <a:off x="6410439" y="1844724"/>
            <a:ext cx="1867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CL" sz="1600" dirty="0">
                <a:latin typeface="ACHS Nueva Sans Medium" pitchFamily="2" charset="77"/>
                <a:cs typeface="Arial" pitchFamily="34" charset="0"/>
              </a:rPr>
              <a:t>Estacionamiento</a:t>
            </a:r>
          </a:p>
        </p:txBody>
      </p:sp>
      <p:sp>
        <p:nvSpPr>
          <p:cNvPr id="29" name="Oval 55">
            <a:extLst>
              <a:ext uri="{FF2B5EF4-FFF2-40B4-BE49-F238E27FC236}">
                <a16:creationId xmlns="" xmlns:a16="http://schemas.microsoft.com/office/drawing/2014/main" id="{80DBE48E-1338-1A40-A598-84C84953D560}"/>
              </a:ext>
            </a:extLst>
          </p:cNvPr>
          <p:cNvSpPr/>
          <p:nvPr/>
        </p:nvSpPr>
        <p:spPr>
          <a:xfrm>
            <a:off x="10912532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56">
            <a:extLst>
              <a:ext uri="{FF2B5EF4-FFF2-40B4-BE49-F238E27FC236}">
                <a16:creationId xmlns="" xmlns:a16="http://schemas.microsoft.com/office/drawing/2014/main" id="{7625983F-BEE9-F54E-8E3A-136D25F76BCA}"/>
              </a:ext>
            </a:extLst>
          </p:cNvPr>
          <p:cNvSpPr txBox="1"/>
          <p:nvPr/>
        </p:nvSpPr>
        <p:spPr>
          <a:xfrm>
            <a:off x="11015094" y="2502751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1" name="TextBox 61">
            <a:extLst>
              <a:ext uri="{FF2B5EF4-FFF2-40B4-BE49-F238E27FC236}">
                <a16:creationId xmlns="" xmlns:a16="http://schemas.microsoft.com/office/drawing/2014/main" id="{A8B510AF-ED40-6A41-9A49-9A7FBEF9D5F8}"/>
              </a:ext>
            </a:extLst>
          </p:cNvPr>
          <p:cNvSpPr txBox="1"/>
          <p:nvPr/>
        </p:nvSpPr>
        <p:spPr>
          <a:xfrm>
            <a:off x="10483970" y="1893999"/>
            <a:ext cx="1445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CL" sz="1600" dirty="0">
                <a:latin typeface="ACHS Nueva Sans Medium" pitchFamily="2" charset="77"/>
                <a:cs typeface="Arial" pitchFamily="34" charset="0"/>
              </a:rPr>
              <a:t>Mantención</a:t>
            </a:r>
            <a:endParaRPr lang="es-CL" sz="1600" b="1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4" name="Text Placeholder 15">
            <a:extLst>
              <a:ext uri="{FF2B5EF4-FFF2-40B4-BE49-F238E27FC236}">
                <a16:creationId xmlns="" xmlns:a16="http://schemas.microsoft.com/office/drawing/2014/main" id="{ABBD26B7-4AF5-9E47-BE74-C828BEF01FB1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Si eres operador, estas tareas debes hacer:</a:t>
            </a:r>
          </a:p>
        </p:txBody>
      </p:sp>
      <p:grpSp>
        <p:nvGrpSpPr>
          <p:cNvPr id="35" name="Grupo 34">
            <a:extLst>
              <a:ext uri="{FF2B5EF4-FFF2-40B4-BE49-F238E27FC236}">
                <a16:creationId xmlns="" xmlns:a16="http://schemas.microsoft.com/office/drawing/2014/main" id="{F7D82CCE-77FB-8249-BDA6-C160134EBE2F}"/>
              </a:ext>
            </a:extLst>
          </p:cNvPr>
          <p:cNvGrpSpPr/>
          <p:nvPr/>
        </p:nvGrpSpPr>
        <p:grpSpPr>
          <a:xfrm>
            <a:off x="492176" y="4996618"/>
            <a:ext cx="4489870" cy="1079833"/>
            <a:chOff x="875906" y="7407986"/>
            <a:chExt cx="5815330" cy="1398612"/>
          </a:xfrm>
        </p:grpSpPr>
        <p:sp>
          <p:nvSpPr>
            <p:cNvPr id="36" name="Rectángulo 35">
              <a:extLst>
                <a:ext uri="{FF2B5EF4-FFF2-40B4-BE49-F238E27FC236}">
                  <a16:creationId xmlns="" xmlns:a16="http://schemas.microsoft.com/office/drawing/2014/main" id="{B488909B-CFD0-E641-B81A-CFDA106365A3}"/>
                </a:ext>
              </a:extLst>
            </p:cNvPr>
            <p:cNvSpPr/>
            <p:nvPr/>
          </p:nvSpPr>
          <p:spPr>
            <a:xfrm>
              <a:off x="875906" y="8107104"/>
              <a:ext cx="5815330" cy="69949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CHS Nueva Sans Medium" pitchFamily="2" charset="77"/>
                </a:rPr>
                <a:t>En cada tarea estás expuesto a incidentes</a:t>
              </a:r>
              <a:endPara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37" name="Flecha abajo 36">
              <a:extLst>
                <a:ext uri="{FF2B5EF4-FFF2-40B4-BE49-F238E27FC236}">
                  <a16:creationId xmlns="" xmlns:a16="http://schemas.microsoft.com/office/drawing/2014/main" id="{87319F9A-32B5-3A40-8DC9-F4E2129FED52}"/>
                </a:ext>
              </a:extLst>
            </p:cNvPr>
            <p:cNvSpPr/>
            <p:nvPr/>
          </p:nvSpPr>
          <p:spPr>
            <a:xfrm rot="10800000">
              <a:off x="3266003" y="7407986"/>
              <a:ext cx="1115482" cy="720080"/>
            </a:xfrm>
            <a:prstGeom prst="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ACHS Nueva Sans Medium" pitchFamily="2" charset="77"/>
              </a:endParaRPr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="" xmlns:a16="http://schemas.microsoft.com/office/drawing/2014/main" id="{9954B65E-B596-CB4C-9605-2967257CE6F9}"/>
              </a:ext>
            </a:extLst>
          </p:cNvPr>
          <p:cNvGrpSpPr/>
          <p:nvPr/>
        </p:nvGrpSpPr>
        <p:grpSpPr>
          <a:xfrm>
            <a:off x="7151154" y="5007432"/>
            <a:ext cx="4443754" cy="1079666"/>
            <a:chOff x="9541172" y="7407987"/>
            <a:chExt cx="5755601" cy="1398395"/>
          </a:xfrm>
        </p:grpSpPr>
        <p:sp>
          <p:nvSpPr>
            <p:cNvPr id="39" name="Rectángulo 38">
              <a:extLst>
                <a:ext uri="{FF2B5EF4-FFF2-40B4-BE49-F238E27FC236}">
                  <a16:creationId xmlns="" xmlns:a16="http://schemas.microsoft.com/office/drawing/2014/main" id="{0D9E9E31-6602-9946-92B6-D27E25CBB067}"/>
                </a:ext>
              </a:extLst>
            </p:cNvPr>
            <p:cNvSpPr/>
            <p:nvPr/>
          </p:nvSpPr>
          <p:spPr>
            <a:xfrm>
              <a:off x="9541172" y="8106888"/>
              <a:ext cx="5755601" cy="699494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CHS Nueva Sans Medium" pitchFamily="2" charset="77"/>
                </a:rPr>
                <a:t>Por lo que sigue las siguientes recomendaciones</a:t>
              </a:r>
              <a:endPara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40" name="Flecha abajo 39">
              <a:extLst>
                <a:ext uri="{FF2B5EF4-FFF2-40B4-BE49-F238E27FC236}">
                  <a16:creationId xmlns="" xmlns:a16="http://schemas.microsoft.com/office/drawing/2014/main" id="{827A8B52-F5E4-9F45-B6D7-E436047412AB}"/>
                </a:ext>
              </a:extLst>
            </p:cNvPr>
            <p:cNvSpPr/>
            <p:nvPr/>
          </p:nvSpPr>
          <p:spPr>
            <a:xfrm rot="10800000">
              <a:off x="11861231" y="7407987"/>
              <a:ext cx="1115482" cy="720080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ACHS Nueva Sans Medium" pitchFamily="2" charset="77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6648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250"/>
                            </p:stCondLst>
                            <p:childTnLst>
                              <p:par>
                                <p:cTn id="8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250"/>
                            </p:stCondLst>
                            <p:childTnLst>
                              <p:par>
                                <p:cTn id="10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2" grpId="0" animBg="1"/>
      <p:bldP spid="23" grpId="0"/>
      <p:bldP spid="24" grpId="0"/>
      <p:bldP spid="25" grpId="0"/>
      <p:bldP spid="26" grpId="0"/>
      <p:bldP spid="27" grpId="0"/>
      <p:bldP spid="28" grpId="0"/>
      <p:bldP spid="29" grpId="0" animBg="1"/>
      <p:bldP spid="30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o 27">
            <a:extLst>
              <a:ext uri="{FF2B5EF4-FFF2-40B4-BE49-F238E27FC236}">
                <a16:creationId xmlns="" xmlns:a16="http://schemas.microsoft.com/office/drawing/2014/main" id="{F4C75DEF-90EB-CD46-8BB2-5BFC10A87843}"/>
              </a:ext>
            </a:extLst>
          </p:cNvPr>
          <p:cNvGrpSpPr/>
          <p:nvPr/>
        </p:nvGrpSpPr>
        <p:grpSpPr>
          <a:xfrm>
            <a:off x="601473" y="2487177"/>
            <a:ext cx="10532422" cy="3210943"/>
            <a:chOff x="769113" y="3021460"/>
            <a:chExt cx="10532422" cy="3210943"/>
          </a:xfrm>
        </p:grpSpPr>
        <p:sp>
          <p:nvSpPr>
            <p:cNvPr id="8" name="Rounded Rectangle 29">
              <a:extLst>
                <a:ext uri="{FF2B5EF4-FFF2-40B4-BE49-F238E27FC236}">
                  <a16:creationId xmlns="" xmlns:a16="http://schemas.microsoft.com/office/drawing/2014/main" id="{40CD901F-EDD6-E746-B7B5-CD97582B925D}"/>
                </a:ext>
              </a:extLst>
            </p:cNvPr>
            <p:cNvSpPr/>
            <p:nvPr/>
          </p:nvSpPr>
          <p:spPr>
            <a:xfrm>
              <a:off x="769113" y="3164571"/>
              <a:ext cx="2925868" cy="889780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Arial" panose="020B0604020202020204" pitchFamily="34" charset="0"/>
              </a:endParaRPr>
            </a:p>
            <a:p>
              <a:pPr lvl="0" algn="ctr" defTabSz="914400">
                <a:defRPr/>
              </a:pPr>
              <a:r>
                <a:rPr lang="es-ES" sz="1400" kern="0" dirty="0">
                  <a:latin typeface="ACHS Nueva Sans Medium" pitchFamily="2" charset="77"/>
                  <a:cs typeface="Arial" panose="020B0604020202020204" pitchFamily="34" charset="0"/>
                </a:rPr>
                <a:t>El movimiento de las horquillas al subir y bajar cargas o durante su desplazamiento.</a:t>
              </a: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</p:txBody>
        </p:sp>
        <p:sp>
          <p:nvSpPr>
            <p:cNvPr id="10" name="Rounded Rectangle 29">
              <a:extLst>
                <a:ext uri="{FF2B5EF4-FFF2-40B4-BE49-F238E27FC236}">
                  <a16:creationId xmlns="" xmlns:a16="http://schemas.microsoft.com/office/drawing/2014/main" id="{36CE8423-7A94-0F43-A5AE-8C142DF0AB6F}"/>
                </a:ext>
              </a:extLst>
            </p:cNvPr>
            <p:cNvSpPr/>
            <p:nvPr/>
          </p:nvSpPr>
          <p:spPr>
            <a:xfrm>
              <a:off x="769113" y="4194859"/>
              <a:ext cx="2925868" cy="889780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r>
                <a:rPr lang="es-ES" sz="1400" kern="0" dirty="0">
                  <a:latin typeface="ACHS Nueva Sans Medium" pitchFamily="2" charset="77"/>
                  <a:cs typeface="Arial" panose="020B0604020202020204" pitchFamily="34" charset="0"/>
                </a:rPr>
                <a:t>La carga en altura con posibilidad de caer.</a:t>
              </a: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</p:txBody>
        </p:sp>
        <p:sp>
          <p:nvSpPr>
            <p:cNvPr id="12" name="Rounded Rectangle 29">
              <a:extLst>
                <a:ext uri="{FF2B5EF4-FFF2-40B4-BE49-F238E27FC236}">
                  <a16:creationId xmlns="" xmlns:a16="http://schemas.microsoft.com/office/drawing/2014/main" id="{B03C41E7-CFCC-D94F-8591-4AC4C19AF39A}"/>
                </a:ext>
              </a:extLst>
            </p:cNvPr>
            <p:cNvSpPr/>
            <p:nvPr/>
          </p:nvSpPr>
          <p:spPr>
            <a:xfrm>
              <a:off x="8375666" y="5342623"/>
              <a:ext cx="2925867" cy="889780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4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El desplazamiento del equipo en presencia de peatones.</a:t>
              </a:r>
            </a:p>
          </p:txBody>
        </p:sp>
        <p:sp>
          <p:nvSpPr>
            <p:cNvPr id="14" name="Rounded Rectangle 29">
              <a:extLst>
                <a:ext uri="{FF2B5EF4-FFF2-40B4-BE49-F238E27FC236}">
                  <a16:creationId xmlns="" xmlns:a16="http://schemas.microsoft.com/office/drawing/2014/main" id="{9B21CD61-8F71-CD46-8D08-0C976ACC7C5F}"/>
                </a:ext>
              </a:extLst>
            </p:cNvPr>
            <p:cNvSpPr/>
            <p:nvPr/>
          </p:nvSpPr>
          <p:spPr>
            <a:xfrm>
              <a:off x="8375666" y="4272681"/>
              <a:ext cx="2925867" cy="889780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4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La filtración de electrolito de batería o fluido hidráulico.</a:t>
              </a:r>
            </a:p>
          </p:txBody>
        </p:sp>
        <p:sp>
          <p:nvSpPr>
            <p:cNvPr id="15" name="Rounded Rectangle 29">
              <a:extLst>
                <a:ext uri="{FF2B5EF4-FFF2-40B4-BE49-F238E27FC236}">
                  <a16:creationId xmlns="" xmlns:a16="http://schemas.microsoft.com/office/drawing/2014/main" id="{A09B085C-0FA6-1643-BC96-1F18D16B9810}"/>
                </a:ext>
              </a:extLst>
            </p:cNvPr>
            <p:cNvSpPr/>
            <p:nvPr/>
          </p:nvSpPr>
          <p:spPr>
            <a:xfrm>
              <a:off x="8375668" y="3204827"/>
              <a:ext cx="2925867" cy="889780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3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Las partes del equipo energizadas o cables y conectores de batería en mal estado.</a:t>
              </a:r>
            </a:p>
          </p:txBody>
        </p:sp>
        <p:grpSp>
          <p:nvGrpSpPr>
            <p:cNvPr id="16" name="Grupo 15">
              <a:extLst>
                <a:ext uri="{FF2B5EF4-FFF2-40B4-BE49-F238E27FC236}">
                  <a16:creationId xmlns="" xmlns:a16="http://schemas.microsoft.com/office/drawing/2014/main" id="{135276CC-66D8-B74B-9D79-9F8B4C07785B}"/>
                </a:ext>
              </a:extLst>
            </p:cNvPr>
            <p:cNvGrpSpPr/>
            <p:nvPr/>
          </p:nvGrpSpPr>
          <p:grpSpPr>
            <a:xfrm>
              <a:off x="4056713" y="3021460"/>
              <a:ext cx="3623018" cy="1886704"/>
              <a:chOff x="5513281" y="3103385"/>
              <a:chExt cx="4397561" cy="2290050"/>
            </a:xfrm>
          </p:grpSpPr>
          <p:grpSp>
            <p:nvGrpSpPr>
              <p:cNvPr id="19" name="Grupo 18">
                <a:extLst>
                  <a:ext uri="{FF2B5EF4-FFF2-40B4-BE49-F238E27FC236}">
                    <a16:creationId xmlns="" xmlns:a16="http://schemas.microsoft.com/office/drawing/2014/main" id="{688582B8-EE7E-6746-A0DC-57534BF47E84}"/>
                  </a:ext>
                </a:extLst>
              </p:cNvPr>
              <p:cNvGrpSpPr/>
              <p:nvPr/>
            </p:nvGrpSpPr>
            <p:grpSpPr>
              <a:xfrm>
                <a:off x="7113913" y="3103385"/>
                <a:ext cx="1224137" cy="1148595"/>
                <a:chOff x="7113913" y="3103385"/>
                <a:chExt cx="1224137" cy="1148595"/>
              </a:xfrm>
            </p:grpSpPr>
            <p:sp>
              <p:nvSpPr>
                <p:cNvPr id="23" name="Rounded Rectangle 29">
                  <a:extLst>
                    <a:ext uri="{FF2B5EF4-FFF2-40B4-BE49-F238E27FC236}">
                      <a16:creationId xmlns="" xmlns:a16="http://schemas.microsoft.com/office/drawing/2014/main" id="{E56D64C3-75DF-154F-94CC-D5EFB1E3A8B8}"/>
                    </a:ext>
                  </a:extLst>
                </p:cNvPr>
                <p:cNvSpPr/>
                <p:nvPr/>
              </p:nvSpPr>
              <p:spPr>
                <a:xfrm>
                  <a:off x="7113913" y="3103385"/>
                  <a:ext cx="1224137" cy="1148595"/>
                </a:xfrm>
                <a:prstGeom prst="roundRect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90000" rtlCol="0" anchor="ctr"/>
                <a:lstStyle/>
                <a:p>
                  <a:pPr lvl="0" algn="ctr" defTabSz="914400">
                    <a:defRPr/>
                  </a:pPr>
                  <a:endParaRPr lang="es-ES" sz="2000" kern="0" dirty="0">
                    <a:solidFill>
                      <a:srgbClr val="FFFFFF"/>
                    </a:solidFill>
                    <a:cs typeface="Calibri" panose="020F0502020204030204" pitchFamily="34" charset="0"/>
                  </a:endParaRPr>
                </a:p>
                <a:p>
                  <a:pPr lvl="0" algn="ctr" defTabSz="914400">
                    <a:defRPr/>
                  </a:pPr>
                  <a:endParaRPr lang="es-ES" sz="2000" kern="0" dirty="0">
                    <a:solidFill>
                      <a:srgbClr val="FFFFFF"/>
                    </a:solidFill>
                    <a:cs typeface="Calibri" panose="020F0502020204030204" pitchFamily="34" charset="0"/>
                  </a:endParaRPr>
                </a:p>
                <a:p>
                  <a:pPr lvl="0" algn="ctr" defTabSz="914400">
                    <a:defRPr/>
                  </a:pPr>
                  <a:endParaRPr lang="es-ES" kern="0" dirty="0">
                    <a:solidFill>
                      <a:srgbClr val="FFFFFF"/>
                    </a:solidFill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24" name="Imagen 23">
                  <a:extLst>
                    <a:ext uri="{FF2B5EF4-FFF2-40B4-BE49-F238E27FC236}">
                      <a16:creationId xmlns="" xmlns:a16="http://schemas.microsoft.com/office/drawing/2014/main" id="{AF3593E6-BEEF-EA40-B83B-47D2A1F857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7402923" y="3326923"/>
                  <a:ext cx="610999" cy="701517"/>
                </a:xfrm>
                <a:prstGeom prst="rect">
                  <a:avLst/>
                </a:prstGeom>
              </p:spPr>
            </p:pic>
          </p:grpSp>
          <p:cxnSp>
            <p:nvCxnSpPr>
              <p:cNvPr id="20" name="Straight Arrow Connector 36">
                <a:extLst>
                  <a:ext uri="{FF2B5EF4-FFF2-40B4-BE49-F238E27FC236}">
                    <a16:creationId xmlns="" xmlns:a16="http://schemas.microsoft.com/office/drawing/2014/main" id="{94FFBE34-98ED-2642-B334-89BACA0C6A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5513281" y="3791818"/>
                <a:ext cx="1440000" cy="13343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1" name="Straight Arrow Connector 36">
                <a:extLst>
                  <a:ext uri="{FF2B5EF4-FFF2-40B4-BE49-F238E27FC236}">
                    <a16:creationId xmlns="" xmlns:a16="http://schemas.microsoft.com/office/drawing/2014/main" id="{C3DD2F07-BB83-C847-BF7B-EEE0438EA2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470842" y="3791614"/>
                <a:ext cx="1440000" cy="6875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2" name="Straight Arrow Connector 36">
                <a:extLst>
                  <a:ext uri="{FF2B5EF4-FFF2-40B4-BE49-F238E27FC236}">
                    <a16:creationId xmlns="" xmlns:a16="http://schemas.microsoft.com/office/drawing/2014/main" id="{61FA796F-C5B2-C54E-8DD0-1ADD0FFA14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708423" y="4328340"/>
                <a:ext cx="2612" cy="1065095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  <p:sp>
          <p:nvSpPr>
            <p:cNvPr id="17" name="Rounded Rectangle 29">
              <a:extLst>
                <a:ext uri="{FF2B5EF4-FFF2-40B4-BE49-F238E27FC236}">
                  <a16:creationId xmlns="" xmlns:a16="http://schemas.microsoft.com/office/drawing/2014/main" id="{BD3D969C-91C6-AF4B-A058-D9624D01CFF2}"/>
                </a:ext>
              </a:extLst>
            </p:cNvPr>
            <p:cNvSpPr/>
            <p:nvPr/>
          </p:nvSpPr>
          <p:spPr>
            <a:xfrm>
              <a:off x="769113" y="5281210"/>
              <a:ext cx="2925868" cy="889780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r>
                <a:rPr lang="es-ES" sz="1400" kern="0" dirty="0">
                  <a:latin typeface="ACHS Nueva Sans Medium" pitchFamily="2" charset="77"/>
                  <a:cs typeface="Arial" panose="020B0604020202020204" pitchFamily="34" charset="0"/>
                </a:rPr>
                <a:t>El mal estado de ruedas de tracción.</a:t>
              </a: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29">
              <a:extLst>
                <a:ext uri="{FF2B5EF4-FFF2-40B4-BE49-F238E27FC236}">
                  <a16:creationId xmlns="" xmlns:a16="http://schemas.microsoft.com/office/drawing/2014/main" id="{409B494A-4E5E-2748-95F0-AABFAD111CE1}"/>
                </a:ext>
              </a:extLst>
            </p:cNvPr>
            <p:cNvSpPr/>
            <p:nvPr/>
          </p:nvSpPr>
          <p:spPr>
            <a:xfrm>
              <a:off x="4405289" y="5263680"/>
              <a:ext cx="2925867" cy="889780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4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No contar con espejo retrovisor en los equipos con cabina o mástil.</a:t>
              </a:r>
            </a:p>
          </p:txBody>
        </p:sp>
      </p:grpSp>
      <p:sp>
        <p:nvSpPr>
          <p:cNvPr id="26" name="Text Placeholder 15">
            <a:extLst>
              <a:ext uri="{FF2B5EF4-FFF2-40B4-BE49-F238E27FC236}">
                <a16:creationId xmlns="" xmlns:a16="http://schemas.microsoft.com/office/drawing/2014/main" id="{87035736-D8E9-0C4D-A652-D9445EB30E54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Al ejecutar cualquiera de los pasos, ten principal cuidado con: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CDD25A23-7064-004A-8ED2-DB6A10EB811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783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5">
            <a:extLst>
              <a:ext uri="{FF2B5EF4-FFF2-40B4-BE49-F238E27FC236}">
                <a16:creationId xmlns="" xmlns:a16="http://schemas.microsoft.com/office/drawing/2014/main" id="{C639FEEF-2BC7-5047-9B23-2806AF842B03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Para las labores asociadas al apilador eléctrico, utiliza siempre: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6EDE25F6-2801-424C-92BB-5349D83E0E6A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  <p:grpSp>
        <p:nvGrpSpPr>
          <p:cNvPr id="22" name="Grupo 21">
            <a:extLst>
              <a:ext uri="{FF2B5EF4-FFF2-40B4-BE49-F238E27FC236}">
                <a16:creationId xmlns="" xmlns:a16="http://schemas.microsoft.com/office/drawing/2014/main" id="{0076F3CA-C2DC-0E41-A43A-A37880D81C50}"/>
              </a:ext>
            </a:extLst>
          </p:cNvPr>
          <p:cNvGrpSpPr/>
          <p:nvPr/>
        </p:nvGrpSpPr>
        <p:grpSpPr>
          <a:xfrm>
            <a:off x="586429" y="3087975"/>
            <a:ext cx="11021530" cy="1922500"/>
            <a:chOff x="586429" y="3087975"/>
            <a:chExt cx="11021530" cy="1922500"/>
          </a:xfrm>
        </p:grpSpPr>
        <p:sp>
          <p:nvSpPr>
            <p:cNvPr id="23" name="Rectángulo redondeado 22">
              <a:extLst>
                <a:ext uri="{FF2B5EF4-FFF2-40B4-BE49-F238E27FC236}">
                  <a16:creationId xmlns="" xmlns:a16="http://schemas.microsoft.com/office/drawing/2014/main" id="{86C51502-00E8-614D-9151-CE8B92121990}"/>
                </a:ext>
              </a:extLst>
            </p:cNvPr>
            <p:cNvSpPr/>
            <p:nvPr/>
          </p:nvSpPr>
          <p:spPr>
            <a:xfrm>
              <a:off x="2864934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4" name="Rectángulo redondeado 23">
              <a:extLst>
                <a:ext uri="{FF2B5EF4-FFF2-40B4-BE49-F238E27FC236}">
                  <a16:creationId xmlns="" xmlns:a16="http://schemas.microsoft.com/office/drawing/2014/main" id="{6B96FF5C-1389-EF41-BFE4-718776F7F7E9}"/>
                </a:ext>
              </a:extLst>
            </p:cNvPr>
            <p:cNvSpPr/>
            <p:nvPr/>
          </p:nvSpPr>
          <p:spPr>
            <a:xfrm>
              <a:off x="5143439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5" name="Rectángulo redondeado 24">
              <a:extLst>
                <a:ext uri="{FF2B5EF4-FFF2-40B4-BE49-F238E27FC236}">
                  <a16:creationId xmlns="" xmlns:a16="http://schemas.microsoft.com/office/drawing/2014/main" id="{6F80FB75-0F42-8D4C-899E-D654C19E6ADC}"/>
                </a:ext>
              </a:extLst>
            </p:cNvPr>
            <p:cNvSpPr/>
            <p:nvPr/>
          </p:nvSpPr>
          <p:spPr>
            <a:xfrm>
              <a:off x="7421944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6" name="Rectángulo redondeado 25">
              <a:extLst>
                <a:ext uri="{FF2B5EF4-FFF2-40B4-BE49-F238E27FC236}">
                  <a16:creationId xmlns="" xmlns:a16="http://schemas.microsoft.com/office/drawing/2014/main" id="{7B8E6A65-318F-6C45-86C9-A8E6C64A6CD8}"/>
                </a:ext>
              </a:extLst>
            </p:cNvPr>
            <p:cNvSpPr/>
            <p:nvPr/>
          </p:nvSpPr>
          <p:spPr>
            <a:xfrm>
              <a:off x="9685459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7" name="Rectángulo redondeado 26">
              <a:extLst>
                <a:ext uri="{FF2B5EF4-FFF2-40B4-BE49-F238E27FC236}">
                  <a16:creationId xmlns="" xmlns:a16="http://schemas.microsoft.com/office/drawing/2014/main" id="{037A0D4B-816E-424F-B207-FB83A3F91FC8}"/>
                </a:ext>
              </a:extLst>
            </p:cNvPr>
            <p:cNvSpPr/>
            <p:nvPr/>
          </p:nvSpPr>
          <p:spPr>
            <a:xfrm>
              <a:off x="586429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pic>
          <p:nvPicPr>
            <p:cNvPr id="28" name="Imagen 27">
              <a:extLst>
                <a:ext uri="{FF2B5EF4-FFF2-40B4-BE49-F238E27FC236}">
                  <a16:creationId xmlns="" xmlns:a16="http://schemas.microsoft.com/office/drawing/2014/main" id="{6A1E42E1-F1D3-644E-8808-426486485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5958" y="3534166"/>
              <a:ext cx="1347595" cy="940509"/>
            </a:xfrm>
            <a:prstGeom prst="rect">
              <a:avLst/>
            </a:prstGeom>
          </p:spPr>
        </p:pic>
        <p:pic>
          <p:nvPicPr>
            <p:cNvPr id="29" name="Imagen 28">
              <a:extLst>
                <a:ext uri="{FF2B5EF4-FFF2-40B4-BE49-F238E27FC236}">
                  <a16:creationId xmlns="" xmlns:a16="http://schemas.microsoft.com/office/drawing/2014/main" id="{B51BB6DD-C383-5F4E-A55D-69D369E6E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06059" y="3777521"/>
              <a:ext cx="1545882" cy="515294"/>
            </a:xfrm>
            <a:prstGeom prst="rect">
              <a:avLst/>
            </a:prstGeom>
          </p:spPr>
        </p:pic>
        <p:pic>
          <p:nvPicPr>
            <p:cNvPr id="30" name="Imagen 29">
              <a:extLst>
                <a:ext uri="{FF2B5EF4-FFF2-40B4-BE49-F238E27FC236}">
                  <a16:creationId xmlns="" xmlns:a16="http://schemas.microsoft.com/office/drawing/2014/main" id="{38172319-5AD9-5B4A-B02E-2FF7F5B22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40927" y="3326373"/>
              <a:ext cx="1510145" cy="1524000"/>
            </a:xfrm>
            <a:prstGeom prst="rect">
              <a:avLst/>
            </a:prstGeom>
          </p:spPr>
        </p:pic>
        <p:pic>
          <p:nvPicPr>
            <p:cNvPr id="31" name="Imagen 30">
              <a:extLst>
                <a:ext uri="{FF2B5EF4-FFF2-40B4-BE49-F238E27FC236}">
                  <a16:creationId xmlns="" xmlns:a16="http://schemas.microsoft.com/office/drawing/2014/main" id="{3DB61880-417F-784A-823C-9D5F6DF63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39910" y="3223725"/>
              <a:ext cx="1460500" cy="1651000"/>
            </a:xfrm>
            <a:prstGeom prst="rect">
              <a:avLst/>
            </a:prstGeom>
          </p:spPr>
        </p:pic>
        <p:pic>
          <p:nvPicPr>
            <p:cNvPr id="32" name="Imagen 31">
              <a:extLst>
                <a:ext uri="{FF2B5EF4-FFF2-40B4-BE49-F238E27FC236}">
                  <a16:creationId xmlns="" xmlns:a16="http://schemas.microsoft.com/office/drawing/2014/main" id="{9BEEB1C2-C3B8-1B44-ADE6-53D5C4508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862071" y="3411557"/>
              <a:ext cx="1564500" cy="1185726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5392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Forma libre 84">
            <a:extLst>
              <a:ext uri="{FF2B5EF4-FFF2-40B4-BE49-F238E27FC236}">
                <a16:creationId xmlns="" xmlns:a16="http://schemas.microsoft.com/office/drawing/2014/main" id="{DEF81100-0A60-8949-AE7F-E27E11084FF6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86" name="Elipse 85">
            <a:extLst>
              <a:ext uri="{FF2B5EF4-FFF2-40B4-BE49-F238E27FC236}">
                <a16:creationId xmlns="" xmlns:a16="http://schemas.microsoft.com/office/drawing/2014/main" id="{AEFA1DC0-681D-E640-B566-8E301B3A0D2F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="" xmlns:a16="http://schemas.microsoft.com/office/drawing/2014/main" id="{5B9AA71B-D870-DA4C-A08D-98465C49F66E}"/>
              </a:ext>
            </a:extLst>
          </p:cNvPr>
          <p:cNvSpPr txBox="1"/>
          <p:nvPr/>
        </p:nvSpPr>
        <p:spPr>
          <a:xfrm>
            <a:off x="829684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="" xmlns:a16="http://schemas.microsoft.com/office/drawing/2014/main" id="{D1C89D2A-36E9-9B40-9266-A5B5A8BA8359}"/>
              </a:ext>
            </a:extLst>
          </p:cNvPr>
          <p:cNvSpPr txBox="1"/>
          <p:nvPr/>
        </p:nvSpPr>
        <p:spPr>
          <a:xfrm>
            <a:off x="1473366" y="1760935"/>
            <a:ext cx="321547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Siempre utiliza tus EPP.</a:t>
            </a:r>
          </a:p>
        </p:txBody>
      </p:sp>
      <p:sp>
        <p:nvSpPr>
          <p:cNvPr id="89" name="Forma libre 88">
            <a:extLst>
              <a:ext uri="{FF2B5EF4-FFF2-40B4-BE49-F238E27FC236}">
                <a16:creationId xmlns="" xmlns:a16="http://schemas.microsoft.com/office/drawing/2014/main" id="{F308611A-A402-C749-A31A-4A7465B38936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0" name="Elipse 89">
            <a:extLst>
              <a:ext uri="{FF2B5EF4-FFF2-40B4-BE49-F238E27FC236}">
                <a16:creationId xmlns="" xmlns:a16="http://schemas.microsoft.com/office/drawing/2014/main" id="{7C39056B-BD11-D940-A90C-099D9C8C3F86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="" xmlns:a16="http://schemas.microsoft.com/office/drawing/2014/main" id="{48E03A0C-B6F5-5C40-A362-CDAD571E90C4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="" xmlns:a16="http://schemas.microsoft.com/office/drawing/2014/main" id="{26FF3E0F-2354-4743-B7AC-260B9FFA8341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uses elementos susceptibles de ser atrapados. </a:t>
            </a:r>
          </a:p>
        </p:txBody>
      </p:sp>
      <p:sp>
        <p:nvSpPr>
          <p:cNvPr id="93" name="Forma libre 92">
            <a:extLst>
              <a:ext uri="{FF2B5EF4-FFF2-40B4-BE49-F238E27FC236}">
                <a16:creationId xmlns="" xmlns:a16="http://schemas.microsoft.com/office/drawing/2014/main" id="{B122EC16-C1DA-FF45-9D4E-947A33A53084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4" name="Elipse 93">
            <a:extLst>
              <a:ext uri="{FF2B5EF4-FFF2-40B4-BE49-F238E27FC236}">
                <a16:creationId xmlns="" xmlns:a16="http://schemas.microsoft.com/office/drawing/2014/main" id="{CDB32C51-030A-6D42-A747-70853CD9EBDA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5" name="CuadroTexto 94">
            <a:extLst>
              <a:ext uri="{FF2B5EF4-FFF2-40B4-BE49-F238E27FC236}">
                <a16:creationId xmlns="" xmlns:a16="http://schemas.microsoft.com/office/drawing/2014/main" id="{5F3DC6BE-0786-5944-BC9F-9FD7F2DC36CB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6" name="CuadroTexto 95">
            <a:extLst>
              <a:ext uri="{FF2B5EF4-FFF2-40B4-BE49-F238E27FC236}">
                <a16:creationId xmlns="" xmlns:a16="http://schemas.microsoft.com/office/drawing/2014/main" id="{21C2A8F2-2CDC-BD40-90C9-2937F5B6376C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operes equipos que presenten daños o fallas. </a:t>
            </a:r>
          </a:p>
        </p:txBody>
      </p:sp>
      <p:sp>
        <p:nvSpPr>
          <p:cNvPr id="97" name="Forma libre 96">
            <a:extLst>
              <a:ext uri="{FF2B5EF4-FFF2-40B4-BE49-F238E27FC236}">
                <a16:creationId xmlns="" xmlns:a16="http://schemas.microsoft.com/office/drawing/2014/main" id="{9EE5E0E2-76A6-9F4E-B8D6-557EBADB073E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8" name="Elipse 97">
            <a:extLst>
              <a:ext uri="{FF2B5EF4-FFF2-40B4-BE49-F238E27FC236}">
                <a16:creationId xmlns="" xmlns:a16="http://schemas.microsoft.com/office/drawing/2014/main" id="{038DE227-8528-D64E-B66B-DE6FFFF6ED4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9" name="CuadroTexto 98">
            <a:extLst>
              <a:ext uri="{FF2B5EF4-FFF2-40B4-BE49-F238E27FC236}">
                <a16:creationId xmlns="" xmlns:a16="http://schemas.microsoft.com/office/drawing/2014/main" id="{F9D315F1-478D-EA48-9159-82E0C92554D2}"/>
              </a:ext>
            </a:extLst>
          </p:cNvPr>
          <p:cNvSpPr txBox="1"/>
          <p:nvPr/>
        </p:nvSpPr>
        <p:spPr>
          <a:xfrm>
            <a:off x="839732" y="399678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0" name="CuadroTexto 99">
            <a:extLst>
              <a:ext uri="{FF2B5EF4-FFF2-40B4-BE49-F238E27FC236}">
                <a16:creationId xmlns="" xmlns:a16="http://schemas.microsoft.com/office/drawing/2014/main" id="{7908BDBD-8078-5945-90B2-90810E8E4C8A}"/>
              </a:ext>
            </a:extLst>
          </p:cNvPr>
          <p:cNvSpPr txBox="1"/>
          <p:nvPr/>
        </p:nvSpPr>
        <p:spPr>
          <a:xfrm>
            <a:off x="1473365" y="402157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én la vista en la tarea que estás realizando.</a:t>
            </a:r>
          </a:p>
        </p:txBody>
      </p:sp>
      <p:sp>
        <p:nvSpPr>
          <p:cNvPr id="101" name="Forma libre 100">
            <a:extLst>
              <a:ext uri="{FF2B5EF4-FFF2-40B4-BE49-F238E27FC236}">
                <a16:creationId xmlns="" xmlns:a16="http://schemas.microsoft.com/office/drawing/2014/main" id="{2BCA9369-33E7-F24A-90BC-75CE9CC3F2B0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2" name="Elipse 101">
            <a:extLst>
              <a:ext uri="{FF2B5EF4-FFF2-40B4-BE49-F238E27FC236}">
                <a16:creationId xmlns="" xmlns:a16="http://schemas.microsoft.com/office/drawing/2014/main" id="{83EDC7B0-D682-0945-AE3E-FDEBD8864302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="" xmlns:a16="http://schemas.microsoft.com/office/drawing/2014/main" id="{6332DD95-F056-DC4F-A63D-7BA72E1E9197}"/>
              </a:ext>
            </a:extLst>
          </p:cNvPr>
          <p:cNvSpPr txBox="1"/>
          <p:nvPr/>
        </p:nvSpPr>
        <p:spPr>
          <a:xfrm>
            <a:off x="839732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="" xmlns:a16="http://schemas.microsoft.com/office/drawing/2014/main" id="{B8C42AB2-8ACC-D743-9FDB-DFF7ED8EA7AD}"/>
              </a:ext>
            </a:extLst>
          </p:cNvPr>
          <p:cNvSpPr txBox="1"/>
          <p:nvPr/>
        </p:nvSpPr>
        <p:spPr>
          <a:xfrm>
            <a:off x="1473366" y="4782945"/>
            <a:ext cx="81648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Nunca operes el equipo con las manos sucias con aceite o mojadas.</a:t>
            </a:r>
          </a:p>
        </p:txBody>
      </p:sp>
      <p:sp>
        <p:nvSpPr>
          <p:cNvPr id="105" name="Forma libre 104">
            <a:extLst>
              <a:ext uri="{FF2B5EF4-FFF2-40B4-BE49-F238E27FC236}">
                <a16:creationId xmlns="" xmlns:a16="http://schemas.microsoft.com/office/drawing/2014/main" id="{567013C3-8F90-D045-907F-5C646ABAA5DC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="" xmlns:a16="http://schemas.microsoft.com/office/drawing/2014/main" id="{B549857F-09E8-C94D-A53B-E73626FA900C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="" xmlns:a16="http://schemas.microsoft.com/office/drawing/2014/main" id="{946B238A-5F8F-2542-86C0-3B22FDAA7387}"/>
              </a:ext>
            </a:extLst>
          </p:cNvPr>
          <p:cNvSpPr txBox="1"/>
          <p:nvPr/>
        </p:nvSpPr>
        <p:spPr>
          <a:xfrm>
            <a:off x="839732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="" xmlns:a16="http://schemas.microsoft.com/office/drawing/2014/main" id="{CA8FEE83-8FA8-454C-AB7B-F519C4B95321}"/>
              </a:ext>
            </a:extLst>
          </p:cNvPr>
          <p:cNvSpPr txBox="1"/>
          <p:nvPr/>
        </p:nvSpPr>
        <p:spPr>
          <a:xfrm>
            <a:off x="1473365" y="5544317"/>
            <a:ext cx="86975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Antes de tocar diversas partes del equipo, observa que no existan superficies filosas.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="" xmlns:a16="http://schemas.microsoft.com/office/drawing/2014/main" id="{74AC7DE5-64A2-5640-A0B7-A0294A06E758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Y sigue estas recomendaciones: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="" xmlns:a16="http://schemas.microsoft.com/office/drawing/2014/main" id="{C8452548-3B86-934D-A508-11DC17BA6658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7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/>
      <p:bldP spid="88" grpId="0"/>
      <p:bldP spid="89" grpId="0" animBg="1"/>
      <p:bldP spid="90" grpId="0" animBg="1"/>
      <p:bldP spid="91" grpId="0"/>
      <p:bldP spid="92" grpId="0"/>
      <p:bldP spid="93" grpId="0" animBg="1"/>
      <p:bldP spid="94" grpId="0" animBg="1"/>
      <p:bldP spid="95" grpId="0"/>
      <p:bldP spid="96" grpId="0"/>
      <p:bldP spid="97" grpId="0" animBg="1"/>
      <p:bldP spid="98" grpId="0" animBg="1"/>
      <p:bldP spid="99" grpId="0"/>
      <p:bldP spid="100" grpId="0"/>
      <p:bldP spid="101" grpId="0" animBg="1"/>
      <p:bldP spid="102" grpId="0" animBg="1"/>
      <p:bldP spid="103" grpId="0"/>
      <p:bldP spid="104" grpId="0"/>
      <p:bldP spid="105" grpId="0" animBg="1"/>
      <p:bldP spid="106" grpId="0" animBg="1"/>
      <p:bldP spid="107" grpId="0"/>
      <p:bldP spid="10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  <p:tag name="ARTICULATE_DESIGN_ID_TEMA DE OFFICE" val="8CfmbXkY"/>
  <p:tag name="ARTICULATE_SLIDE_COUNT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05C811B5-AE98-4991-B1C2-96487C42DF2F}"/>
</file>

<file path=customXml/itemProps2.xml><?xml version="1.0" encoding="utf-8"?>
<ds:datastoreItem xmlns:ds="http://schemas.openxmlformats.org/officeDocument/2006/customXml" ds:itemID="{B49285DC-1D6C-4ADE-BC82-58DD3CC60C40}"/>
</file>

<file path=customXml/itemProps3.xml><?xml version="1.0" encoding="utf-8"?>
<ds:datastoreItem xmlns:ds="http://schemas.openxmlformats.org/officeDocument/2006/customXml" ds:itemID="{20BEB492-A97E-4241-AA15-5FCDDC0B62DE}"/>
</file>

<file path=docProps/app.xml><?xml version="1.0" encoding="utf-8"?>
<Properties xmlns="http://schemas.openxmlformats.org/officeDocument/2006/extended-properties" xmlns:vt="http://schemas.openxmlformats.org/officeDocument/2006/docPropsVTypes">
  <TotalTime>2464</TotalTime>
  <Words>1909</Words>
  <Application>Microsoft Office PowerPoint</Application>
  <PresentationFormat>Panorámica</PresentationFormat>
  <Paragraphs>237</Paragraphs>
  <Slides>25</Slides>
  <Notes>19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40" baseType="lpstr">
      <vt:lpstr>ＭＳ Ｐゴシック</vt:lpstr>
      <vt:lpstr>ACHS Nueva Sans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Helvetica Neue Medium</vt:lpstr>
      <vt:lpstr>Tw Cen MT</vt:lpstr>
      <vt:lpstr>Wingdings</vt:lpstr>
      <vt:lpstr>Tema de Office</vt:lpstr>
      <vt:lpstr>Portadas y cierres_Achs Seguro Laboral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441</cp:revision>
  <dcterms:created xsi:type="dcterms:W3CDTF">2023-07-11T20:17:04Z</dcterms:created>
  <dcterms:modified xsi:type="dcterms:W3CDTF">2025-02-18T00:1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B261F9E-936D-4686-BBF0-1D225118FBBA</vt:lpwstr>
  </property>
  <property fmtid="{D5CDD505-2E9C-101B-9397-08002B2CF9AE}" pid="3" name="ArticulatePath">
    <vt:lpwstr>659718~1</vt:lpwstr>
  </property>
  <property fmtid="{D5CDD505-2E9C-101B-9397-08002B2CF9AE}" pid="4" name="ContentTypeId">
    <vt:lpwstr>0x0101007C36543F3D857D488921B9E8F0F0A212</vt:lpwstr>
  </property>
</Properties>
</file>